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29.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42.xml" ContentType="application/vnd.openxmlformats-officedocument.presentationml.slide+xml"/>
  <Override PartName="/ppt/drawings/drawing1.xml" ContentType="application/vnd.openxmlformats-officedocument.drawingml.chartshapes+xml"/>
  <Override PartName="/ppt/drawings/drawing2.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style18.xml" ContentType="application/vnd.ms-office.chartstyle+xml"/>
  <Override PartName="/ppt/charts/style1.xml" ContentType="application/vnd.ms-office.chartstyl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olors18.xml" ContentType="application/vnd.ms-office.chartcolorstyl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12.xml" ContentType="application/vnd.openxmlformats-officedocument.drawingml.chart+xml"/>
  <Override PartName="/ppt/charts/style12.xml" ContentType="application/vnd.ms-office.chart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olors11.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authors.xml" ContentType="application/vnd.ms-powerpoint.authors+xml"/>
  <Override PartName="/ppt/charts/style11.xml" ContentType="application/vnd.ms-office.chartstyle+xml"/>
  <Override PartName="/ppt/charts/chart11.xml" ContentType="application/vnd.openxmlformats-officedocument.drawingml.chart+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 id="2147483732" r:id="rId4"/>
    <p:sldMasterId id="2147484068" r:id="rId5"/>
    <p:sldMasterId id="2147483800" r:id="rId6"/>
    <p:sldMasterId id="2147483868" r:id="rId7"/>
    <p:sldMasterId id="2147483936" r:id="rId8"/>
    <p:sldMasterId id="2147484004" r:id="rId9"/>
    <p:sldMasterId id="2147484023" r:id="rId10"/>
  </p:sldMasterIdLst>
  <p:notesMasterIdLst>
    <p:notesMasterId r:id="rId63"/>
  </p:notesMasterIdLst>
  <p:sldIdLst>
    <p:sldId id="267" r:id="rId11"/>
    <p:sldId id="306" r:id="rId12"/>
    <p:sldId id="2147479669" r:id="rId13"/>
    <p:sldId id="2147479731" r:id="rId14"/>
    <p:sldId id="2147479672"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735" r:id="rId28"/>
    <p:sldId id="2147479698" r:id="rId29"/>
    <p:sldId id="2147479687" r:id="rId30"/>
    <p:sldId id="2147479688" r:id="rId31"/>
    <p:sldId id="2147479689" r:id="rId32"/>
    <p:sldId id="2147479690" r:id="rId33"/>
    <p:sldId id="2147479692" r:id="rId34"/>
    <p:sldId id="2147479691" r:id="rId35"/>
    <p:sldId id="2147479693" r:id="rId36"/>
    <p:sldId id="2147479694" r:id="rId37"/>
    <p:sldId id="2147479695" r:id="rId38"/>
    <p:sldId id="2147479734" r:id="rId39"/>
    <p:sldId id="2147479697" r:id="rId40"/>
    <p:sldId id="2147479699" r:id="rId41"/>
    <p:sldId id="2147479705" r:id="rId42"/>
    <p:sldId id="316" r:id="rId43"/>
    <p:sldId id="2147479701" r:id="rId44"/>
    <p:sldId id="2147479706" r:id="rId45"/>
    <p:sldId id="2147479708" r:id="rId46"/>
    <p:sldId id="2147479709" r:id="rId47"/>
    <p:sldId id="2147479711" r:id="rId48"/>
    <p:sldId id="2147479712" r:id="rId49"/>
    <p:sldId id="399" r:id="rId50"/>
    <p:sldId id="2147479714" r:id="rId51"/>
    <p:sldId id="2147479716" r:id="rId52"/>
    <p:sldId id="2147479717" r:id="rId53"/>
    <p:sldId id="2147479724" r:id="rId54"/>
    <p:sldId id="2147479725" r:id="rId55"/>
    <p:sldId id="2147479726" r:id="rId56"/>
    <p:sldId id="2147479728" r:id="rId57"/>
    <p:sldId id="2147479729" r:id="rId58"/>
    <p:sldId id="2147479730" r:id="rId59"/>
    <p:sldId id="2147479721" r:id="rId60"/>
    <p:sldId id="2147479722" r:id="rId61"/>
    <p:sldId id="2147479723"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306"/>
            <p14:sldId id="2147479669"/>
            <p14:sldId id="2147479731"/>
            <p14:sldId id="2147479672"/>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735"/>
            <p14:sldId id="2147479698"/>
            <p14:sldId id="2147479687"/>
            <p14:sldId id="2147479688"/>
            <p14:sldId id="2147479689"/>
            <p14:sldId id="2147479690"/>
            <p14:sldId id="2147479692"/>
            <p14:sldId id="2147479691"/>
            <p14:sldId id="2147479693"/>
            <p14:sldId id="2147479694"/>
            <p14:sldId id="2147479695"/>
            <p14:sldId id="2147479734"/>
            <p14:sldId id="2147479697"/>
            <p14:sldId id="2147479699"/>
            <p14:sldId id="2147479705"/>
            <p14:sldId id="316"/>
            <p14:sldId id="2147479701"/>
            <p14:sldId id="2147479706"/>
            <p14:sldId id="2147479708"/>
            <p14:sldId id="2147479709"/>
            <p14:sldId id="2147479711"/>
            <p14:sldId id="2147479712"/>
            <p14:sldId id="399"/>
            <p14:sldId id="2147479714"/>
            <p14:sldId id="2147479716"/>
            <p14:sldId id="2147479717"/>
            <p14:sldId id="2147479724"/>
            <p14:sldId id="2147479725"/>
            <p14:sldId id="2147479726"/>
            <p14:sldId id="2147479728"/>
            <p14:sldId id="2147479729"/>
            <p14:sldId id="2147479730"/>
            <p14:sldId id="2147479721"/>
            <p14:sldId id="2147479722"/>
            <p14:sldId id="214747972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1806"/>
    <a:srgbClr val="ACEDFF"/>
    <a:srgbClr val="F2F2F2"/>
    <a:srgbClr val="B3B3B3"/>
    <a:srgbClr val="DBDDFA"/>
    <a:srgbClr val="F9BFA2"/>
    <a:srgbClr val="0C3440"/>
    <a:srgbClr val="2D2D2D"/>
    <a:srgbClr val="BCDE99"/>
    <a:srgbClr val="F9BB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2" autoAdjust="0"/>
    <p:restoredTop sz="91265" autoAdjust="0"/>
  </p:normalViewPr>
  <p:slideViewPr>
    <p:cSldViewPr snapToGrid="0">
      <p:cViewPr varScale="1">
        <p:scale>
          <a:sx n="99" d="100"/>
          <a:sy n="99" d="100"/>
        </p:scale>
        <p:origin x="300" y="68"/>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791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notesMaster" Target="notesMasters/notesMaster1.xml"/><Relationship Id="rId68" Type="http://schemas.microsoft.com/office/2018/10/relationships/authors" Target="authors.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theme" Target="theme/theme1.xml"/><Relationship Id="rId5" Type="http://schemas.openxmlformats.org/officeDocument/2006/relationships/slideMaster" Target="slideMasters/slideMaster3.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presProps" Target="presProps.xml"/><Relationship Id="rId69" Type="http://schemas.openxmlformats.org/officeDocument/2006/relationships/customXml" Target="../customXml/item3.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viewProps" Target="viewProps.xml"/><Relationship Id="rId4" Type="http://schemas.openxmlformats.org/officeDocument/2006/relationships/slideMaster" Target="slideMasters/slideMaster2.xml"/><Relationship Id="rId9"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2.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1</c:f>
              <c:strCache>
                <c:ptCount val="14"/>
                <c:pt idx="0">
                  <c:v>26-Feb-22</c:v>
                </c:pt>
                <c:pt idx="1">
                  <c:v>26-Mar-22</c:v>
                </c:pt>
                <c:pt idx="2">
                  <c:v> 23-Apr-22</c:v>
                </c:pt>
                <c:pt idx="3">
                  <c:v> 21-May-22</c:v>
                </c:pt>
                <c:pt idx="4">
                  <c:v> 18-Jun-22</c:v>
                </c:pt>
                <c:pt idx="5">
                  <c:v> 16-Jul-22</c:v>
                </c:pt>
                <c:pt idx="6">
                  <c:v>13-Aug-22</c:v>
                </c:pt>
                <c:pt idx="7">
                  <c:v> 10-Sep-22</c:v>
                </c:pt>
                <c:pt idx="8">
                  <c:v>08-Oct-22</c:v>
                </c:pt>
                <c:pt idx="9">
                  <c:v> 5-Nov-22</c:v>
                </c:pt>
                <c:pt idx="10">
                  <c:v> 3-Dec-22</c:v>
                </c:pt>
                <c:pt idx="11">
                  <c:v>31-Dec-22</c:v>
                </c:pt>
                <c:pt idx="12">
                  <c:v> 28-Jan-23</c:v>
                </c:pt>
                <c:pt idx="13">
                  <c:v> 25-Feb-23</c:v>
                </c:pt>
              </c:strCache>
            </c:strRef>
          </c:cat>
          <c:val>
            <c:numRef>
              <c:f>Sheet1!$B$2:$B$51</c:f>
              <c:numCache>
                <c:formatCode>0.0%</c:formatCode>
                <c:ptCount val="14"/>
                <c:pt idx="0">
                  <c:v>4.2580094040541194E-2</c:v>
                </c:pt>
                <c:pt idx="1">
                  <c:v>2.9117224748295367E-2</c:v>
                </c:pt>
                <c:pt idx="2">
                  <c:v>1.6969404603967453E-2</c:v>
                </c:pt>
                <c:pt idx="3">
                  <c:v>-6.2668466308212212E-3</c:v>
                </c:pt>
                <c:pt idx="4">
                  <c:v>3.4992062681020508E-2</c:v>
                </c:pt>
                <c:pt idx="5">
                  <c:v>2.3261213014076354E-3</c:v>
                </c:pt>
                <c:pt idx="6">
                  <c:v>6.3286131618189856E-4</c:v>
                </c:pt>
                <c:pt idx="7">
                  <c:v>-3.1666660950242731E-2</c:v>
                </c:pt>
                <c:pt idx="8">
                  <c:v>1.4934456006931995E-3</c:v>
                </c:pt>
                <c:pt idx="9">
                  <c:v>1.8310168026341778E-2</c:v>
                </c:pt>
                <c:pt idx="10">
                  <c:v>6.5870152433742613E-2</c:v>
                </c:pt>
                <c:pt idx="11">
                  <c:v>0.14977693695436178</c:v>
                </c:pt>
                <c:pt idx="12">
                  <c:v>-0.23721535398759896</c:v>
                </c:pt>
                <c:pt idx="13">
                  <c:v>7.0312361606393203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1</c:f>
              <c:strCache>
                <c:ptCount val="14"/>
                <c:pt idx="0">
                  <c:v>26-Feb-22</c:v>
                </c:pt>
                <c:pt idx="1">
                  <c:v>26-Mar-22</c:v>
                </c:pt>
                <c:pt idx="2">
                  <c:v> 23-Apr-22</c:v>
                </c:pt>
                <c:pt idx="3">
                  <c:v> 21-May-22</c:v>
                </c:pt>
                <c:pt idx="4">
                  <c:v> 18-Jun-22</c:v>
                </c:pt>
                <c:pt idx="5">
                  <c:v> 16-Jul-22</c:v>
                </c:pt>
                <c:pt idx="6">
                  <c:v>13-Aug-22</c:v>
                </c:pt>
                <c:pt idx="7">
                  <c:v> 10-Sep-22</c:v>
                </c:pt>
                <c:pt idx="8">
                  <c:v>08-Oct-22</c:v>
                </c:pt>
                <c:pt idx="9">
                  <c:v> 5-Nov-22</c:v>
                </c:pt>
                <c:pt idx="10">
                  <c:v> 3-Dec-22</c:v>
                </c:pt>
                <c:pt idx="11">
                  <c:v>31-Dec-22</c:v>
                </c:pt>
                <c:pt idx="12">
                  <c:v> 28-Jan-23</c:v>
                </c:pt>
                <c:pt idx="13">
                  <c:v> 25-Feb-23</c:v>
                </c:pt>
              </c:strCache>
            </c:strRef>
          </c:cat>
          <c:val>
            <c:numRef>
              <c:f>Sheet1!$C$2:$C$51</c:f>
              <c:numCache>
                <c:formatCode>0.0%</c:formatCode>
                <c:ptCount val="14"/>
                <c:pt idx="0">
                  <c:v>4.0000321200108768E-2</c:v>
                </c:pt>
                <c:pt idx="1">
                  <c:v>2.5829632076467268E-2</c:v>
                </c:pt>
                <c:pt idx="2">
                  <c:v>1.8720289602282447E-2</c:v>
                </c:pt>
                <c:pt idx="3">
                  <c:v>-1.1869445929204581E-2</c:v>
                </c:pt>
                <c:pt idx="4">
                  <c:v>3.8394566781645878E-2</c:v>
                </c:pt>
                <c:pt idx="5">
                  <c:v>-3.9834423003833885E-3</c:v>
                </c:pt>
                <c:pt idx="6">
                  <c:v>-2.289607321019016E-3</c:v>
                </c:pt>
                <c:pt idx="7">
                  <c:v>-2.8470366165141869E-2</c:v>
                </c:pt>
                <c:pt idx="8">
                  <c:v>5.2953418739041247E-3</c:v>
                </c:pt>
                <c:pt idx="9">
                  <c:v>2.3726841154752876E-2</c:v>
                </c:pt>
                <c:pt idx="10">
                  <c:v>7.4222463553804241E-2</c:v>
                </c:pt>
                <c:pt idx="11">
                  <c:v>0.177440608093546</c:v>
                </c:pt>
                <c:pt idx="12">
                  <c:v>-0.25868831604487708</c:v>
                </c:pt>
                <c:pt idx="13">
                  <c:v>6.6754975119259763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528661759"/>
        <c:axId val="528662591"/>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199754291576E-2"/>
          <c:y val="1.2064951785875775E-2"/>
          <c:w val="0.96107340978121836"/>
          <c:h val="0.6720809809843061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5"/>
            <c:invertIfNegative val="0"/>
            <c:bubble3D val="0"/>
            <c:extLst>
              <c:ext xmlns:c16="http://schemas.microsoft.com/office/drawing/2014/chart" uri="{C3380CC4-5D6E-409C-BE32-E72D297353CC}">
                <c16:uniqueId val="{00000006-BC35-4256-9676-7B5ED5A44C51}"/>
              </c:ext>
            </c:extLst>
          </c:dPt>
          <c:dPt>
            <c:idx val="6"/>
            <c:invertIfNegative val="1"/>
            <c:bubble3D val="0"/>
            <c:extLst>
              <c:ext xmlns:c16="http://schemas.microsoft.com/office/drawing/2014/chart" uri="{C3380CC4-5D6E-409C-BE32-E72D297353CC}">
                <c16:uniqueId val="{00000007-BC35-4256-9676-7B5ED5A44C51}"/>
              </c:ext>
            </c:extLst>
          </c:dPt>
          <c:dPt>
            <c:idx val="7"/>
            <c:invertIfNegative val="1"/>
            <c:bubble3D val="0"/>
            <c:extLst>
              <c:ext xmlns:c16="http://schemas.microsoft.com/office/drawing/2014/chart" uri="{C3380CC4-5D6E-409C-BE32-E72D297353CC}">
                <c16:uniqueId val="{00000008-BC35-4256-9676-7B5ED5A44C51}"/>
              </c:ext>
            </c:extLst>
          </c:dPt>
          <c:dPt>
            <c:idx val="8"/>
            <c:invertIfNegative val="1"/>
            <c:bubble3D val="0"/>
            <c:extLst>
              <c:ext xmlns:c16="http://schemas.microsoft.com/office/drawing/2014/chart" uri="{C3380CC4-5D6E-409C-BE32-E72D297353CC}">
                <c16:uniqueId val="{00000009-BC35-4256-9676-7B5ED5A44C51}"/>
              </c:ext>
            </c:extLst>
          </c:dPt>
          <c:dPt>
            <c:idx val="9"/>
            <c:invertIfNegative val="1"/>
            <c:bubble3D val="0"/>
            <c:extLst>
              <c:ext xmlns:c16="http://schemas.microsoft.com/office/drawing/2014/chart" uri="{C3380CC4-5D6E-409C-BE32-E72D297353CC}">
                <c16:uniqueId val="{0000000A-BC35-4256-9676-7B5ED5A44C51}"/>
              </c:ext>
            </c:extLst>
          </c:dPt>
          <c:dPt>
            <c:idx val="10"/>
            <c:invertIfNegative val="0"/>
            <c:bubble3D val="0"/>
            <c:extLst>
              <c:ext xmlns:c16="http://schemas.microsoft.com/office/drawing/2014/chart" uri="{C3380CC4-5D6E-409C-BE32-E72D297353CC}">
                <c16:uniqueId val="{0000000C-BC35-4256-9676-7B5ED5A44C51}"/>
              </c:ext>
            </c:extLst>
          </c:dPt>
          <c:dPt>
            <c:idx val="12"/>
            <c:invertIfNegative val="1"/>
            <c:bubble3D val="0"/>
            <c:extLst>
              <c:ext xmlns:c16="http://schemas.microsoft.com/office/drawing/2014/chart" uri="{C3380CC4-5D6E-409C-BE32-E72D297353CC}">
                <c16:uniqueId val="{0000000E-BC35-4256-9676-7B5ED5A44C5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6.6711057081466851E-2</c:v>
                </c:pt>
                <c:pt idx="1">
                  <c:v>6.1536411012684811E-2</c:v>
                </c:pt>
                <c:pt idx="2">
                  <c:v>8.0450955453422734E-2</c:v>
                </c:pt>
                <c:pt idx="4">
                  <c:v>6.5640113319135773E-2</c:v>
                </c:pt>
                <c:pt idx="5">
                  <c:v>0.12836412662463692</c:v>
                </c:pt>
                <c:pt idx="7">
                  <c:v>3.5270230736735853E-2</c:v>
                </c:pt>
                <c:pt idx="8">
                  <c:v>8.9498114302291931E-2</c:v>
                </c:pt>
                <c:pt idx="9">
                  <c:v>6.3307918820525444E-2</c:v>
                </c:pt>
                <c:pt idx="10">
                  <c:v>7.1408446318541596E-2</c:v>
                </c:pt>
                <c:pt idx="12">
                  <c:v>0.26695980223460603</c:v>
                </c:pt>
                <c:pt idx="13">
                  <c:v>5.7515961430202545E-2</c:v>
                </c:pt>
                <c:pt idx="14">
                  <c:v>-2.4875033648728118E-2</c:v>
                </c:pt>
                <c:pt idx="15">
                  <c:v>0.1307711755624319</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extLst>
              <c:ext xmlns:c16="http://schemas.microsoft.com/office/drawing/2014/chart" uri="{C3380CC4-5D6E-409C-BE32-E72D297353CC}">
                <c16:uniqueId val="{00000005-433D-4183-BC76-E5A043214F9B}"/>
              </c:ext>
            </c:extLst>
          </c:dPt>
          <c:dPt>
            <c:idx val="6"/>
            <c:invertIfNegative val="0"/>
            <c:bubble3D val="0"/>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Pt>
            <c:idx val="10"/>
            <c:invertIfNegative val="0"/>
            <c:bubble3D val="0"/>
            <c:extLst>
              <c:ext xmlns:c16="http://schemas.microsoft.com/office/drawing/2014/chart" uri="{C3380CC4-5D6E-409C-BE32-E72D297353CC}">
                <c16:uniqueId val="{0000000A-433D-4183-BC76-E5A043214F9B}"/>
              </c:ext>
            </c:extLst>
          </c:dPt>
          <c:dPt>
            <c:idx val="11"/>
            <c:invertIfNegative val="0"/>
            <c:bubble3D val="0"/>
            <c:extLst>
              <c:ext xmlns:c16="http://schemas.microsoft.com/office/drawing/2014/chart" uri="{C3380CC4-5D6E-409C-BE32-E72D297353CC}">
                <c16:uniqueId val="{0000000B-433D-4183-BC76-E5A043214F9B}"/>
              </c:ext>
            </c:extLst>
          </c:dPt>
          <c:dPt>
            <c:idx val="12"/>
            <c:invertIfNegative val="0"/>
            <c:bubble3D val="0"/>
            <c:extLst>
              <c:ext xmlns:c16="http://schemas.microsoft.com/office/drawing/2014/chart" uri="{C3380CC4-5D6E-409C-BE32-E72D297353CC}">
                <c16:uniqueId val="{0000000C-433D-4183-BC76-E5A043214F9B}"/>
              </c:ext>
            </c:extLst>
          </c:dPt>
          <c:dPt>
            <c:idx val="13"/>
            <c:invertIfNegative val="0"/>
            <c:bubble3D val="0"/>
            <c:extLst>
              <c:ext xmlns:c16="http://schemas.microsoft.com/office/drawing/2014/chart" uri="{C3380CC4-5D6E-409C-BE32-E72D297353CC}">
                <c16:uniqueId val="{0000000D-433D-4183-BC76-E5A043214F9B}"/>
              </c:ext>
            </c:extLst>
          </c:dPt>
          <c:dPt>
            <c:idx val="14"/>
            <c:invertIfNegative val="0"/>
            <c:bubble3D val="0"/>
            <c:extLst>
              <c:ext xmlns:c16="http://schemas.microsoft.com/office/drawing/2014/chart" uri="{C3380CC4-5D6E-409C-BE32-E72D297353CC}">
                <c16:uniqueId val="{0000000E-433D-4183-BC76-E5A043214F9B}"/>
              </c:ext>
            </c:extLst>
          </c:dPt>
          <c:dPt>
            <c:idx val="15"/>
            <c:invertIfNegative val="0"/>
            <c:bubble3D val="0"/>
            <c:extLst>
              <c:ext xmlns:c16="http://schemas.microsoft.com/office/drawing/2014/chart" uri="{C3380CC4-5D6E-409C-BE32-E72D297353CC}">
                <c16:uniqueId val="{0000000F-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7.0312361606393203E-2</c:v>
                </c:pt>
                <c:pt idx="1">
                  <c:v>6.2491823577734973E-2</c:v>
                </c:pt>
                <c:pt idx="2">
                  <c:v>9.1266734067804833E-2</c:v>
                </c:pt>
                <c:pt idx="4">
                  <c:v>6.6754975119259763E-2</c:v>
                </c:pt>
                <c:pt idx="5">
                  <c:v>4.2328303225009023E-2</c:v>
                </c:pt>
                <c:pt idx="7">
                  <c:v>9.6989788565021939E-2</c:v>
                </c:pt>
                <c:pt idx="8">
                  <c:v>9.1429951565018985E-2</c:v>
                </c:pt>
                <c:pt idx="9">
                  <c:v>9.6151366190811327E-2</c:v>
                </c:pt>
                <c:pt idx="10">
                  <c:v>8.6069394925492926E-2</c:v>
                </c:pt>
                <c:pt idx="12">
                  <c:v>7.670435163623468E-2</c:v>
                </c:pt>
                <c:pt idx="13">
                  <c:v>5.4049725116083414E-2</c:v>
                </c:pt>
                <c:pt idx="14">
                  <c:v>5.4797207478376242E-2</c:v>
                </c:pt>
                <c:pt idx="15">
                  <c:v>7.5177030543838619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5"/>
            <c:invertIfNegative val="0"/>
            <c:bubble3D val="0"/>
            <c:extLst>
              <c:ext xmlns:c16="http://schemas.microsoft.com/office/drawing/2014/chart" uri="{C3380CC4-5D6E-409C-BE32-E72D297353CC}">
                <c16:uniqueId val="{00000005-433D-4183-BC76-E5A043214F9B}"/>
              </c:ext>
            </c:extLst>
          </c:dPt>
          <c:dPt>
            <c:idx val="6"/>
            <c:invertIfNegative val="0"/>
            <c:bubble3D val="0"/>
            <c:extLst>
              <c:ext xmlns:c16="http://schemas.microsoft.com/office/drawing/2014/chart" uri="{C3380CC4-5D6E-409C-BE32-E72D297353CC}">
                <c16:uniqueId val="{00000006-433D-4183-BC76-E5A043214F9B}"/>
              </c:ext>
            </c:extLst>
          </c:dPt>
          <c:dPt>
            <c:idx val="7"/>
            <c:invertIfNegative val="0"/>
            <c:bubble3D val="0"/>
            <c:extLst>
              <c:ext xmlns:c16="http://schemas.microsoft.com/office/drawing/2014/chart" uri="{C3380CC4-5D6E-409C-BE32-E72D297353CC}">
                <c16:uniqueId val="{00000007-433D-4183-BC76-E5A043214F9B}"/>
              </c:ext>
            </c:extLst>
          </c:dPt>
          <c:dPt>
            <c:idx val="8"/>
            <c:invertIfNegative val="0"/>
            <c:bubble3D val="0"/>
            <c:extLst>
              <c:ext xmlns:c16="http://schemas.microsoft.com/office/drawing/2014/chart" uri="{C3380CC4-5D6E-409C-BE32-E72D297353CC}">
                <c16:uniqueId val="{00000008-433D-4183-BC76-E5A043214F9B}"/>
              </c:ext>
            </c:extLst>
          </c:dPt>
          <c:dPt>
            <c:idx val="9"/>
            <c:invertIfNegative val="0"/>
            <c:bubble3D val="0"/>
            <c:extLst>
              <c:ext xmlns:c16="http://schemas.microsoft.com/office/drawing/2014/chart" uri="{C3380CC4-5D6E-409C-BE32-E72D297353CC}">
                <c16:uniqueId val="{00000009-433D-4183-BC76-E5A043214F9B}"/>
              </c:ext>
            </c:extLst>
          </c:dPt>
          <c:dPt>
            <c:idx val="10"/>
            <c:invertIfNegative val="0"/>
            <c:bubble3D val="0"/>
            <c:extLst>
              <c:ext xmlns:c16="http://schemas.microsoft.com/office/drawing/2014/chart" uri="{C3380CC4-5D6E-409C-BE32-E72D297353CC}">
                <c16:uniqueId val="{0000000A-433D-4183-BC76-E5A043214F9B}"/>
              </c:ext>
            </c:extLst>
          </c:dPt>
          <c:dPt>
            <c:idx val="11"/>
            <c:invertIfNegative val="0"/>
            <c:bubble3D val="0"/>
            <c:extLst>
              <c:ext xmlns:c16="http://schemas.microsoft.com/office/drawing/2014/chart" uri="{C3380CC4-5D6E-409C-BE32-E72D297353CC}">
                <c16:uniqueId val="{0000000B-433D-4183-BC76-E5A043214F9B}"/>
              </c:ext>
            </c:extLst>
          </c:dPt>
          <c:dPt>
            <c:idx val="12"/>
            <c:invertIfNegative val="0"/>
            <c:bubble3D val="0"/>
            <c:extLst>
              <c:ext xmlns:c16="http://schemas.microsoft.com/office/drawing/2014/chart" uri="{C3380CC4-5D6E-409C-BE32-E72D297353CC}">
                <c16:uniqueId val="{0000000C-433D-4183-BC76-E5A043214F9B}"/>
              </c:ext>
            </c:extLst>
          </c:dPt>
          <c:dPt>
            <c:idx val="13"/>
            <c:invertIfNegative val="0"/>
            <c:bubble3D val="0"/>
            <c:extLst>
              <c:ext xmlns:c16="http://schemas.microsoft.com/office/drawing/2014/chart" uri="{C3380CC4-5D6E-409C-BE32-E72D297353CC}">
                <c16:uniqueId val="{0000000D-433D-4183-BC76-E5A043214F9B}"/>
              </c:ext>
            </c:extLst>
          </c:dPt>
          <c:dPt>
            <c:idx val="14"/>
            <c:invertIfNegative val="0"/>
            <c:bubble3D val="0"/>
            <c:spPr>
              <a:solidFill>
                <a:schemeClr val="bg1">
                  <a:lumMod val="50000"/>
                </a:schemeClr>
              </a:solidFill>
              <a:ln>
                <a:noFill/>
              </a:ln>
              <a:effectLst/>
            </c:spPr>
            <c:extLst>
              <c:ext xmlns:c16="http://schemas.microsoft.com/office/drawing/2014/chart" uri="{C3380CC4-5D6E-409C-BE32-E72D297353CC}">
                <c16:uniqueId val="{0000000E-433D-4183-BC76-E5A043214F9B}"/>
              </c:ext>
            </c:extLst>
          </c:dPt>
          <c:dPt>
            <c:idx val="15"/>
            <c:invertIfNegative val="0"/>
            <c:bubble3D val="0"/>
            <c:extLst>
              <c:ext xmlns:c16="http://schemas.microsoft.com/office/drawing/2014/chart" uri="{C3380CC4-5D6E-409C-BE32-E72D297353CC}">
                <c16:uniqueId val="{0000000F-433D-4183-BC76-E5A043214F9B}"/>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5.3179663012543177E-2</c:v>
                </c:pt>
                <c:pt idx="1">
                  <c:v>4.7586172881363575E-2</c:v>
                </c:pt>
                <c:pt idx="2">
                  <c:v>6.8252248918008185E-2</c:v>
                </c:pt>
                <c:pt idx="4">
                  <c:v>5.253879541810047E-2</c:v>
                </c:pt>
                <c:pt idx="5">
                  <c:v>6.8252248918008185E-2</c:v>
                </c:pt>
                <c:pt idx="7">
                  <c:v>1.1503512950597816E-2</c:v>
                </c:pt>
                <c:pt idx="8">
                  <c:v>7.0980400144722733E-2</c:v>
                </c:pt>
                <c:pt idx="9">
                  <c:v>5.742897547805903E-2</c:v>
                </c:pt>
                <c:pt idx="10">
                  <c:v>7.1929913643540511E-2</c:v>
                </c:pt>
                <c:pt idx="12">
                  <c:v>0.23542395323687404</c:v>
                </c:pt>
                <c:pt idx="13">
                  <c:v>1.6845143456367451E-2</c:v>
                </c:pt>
                <c:pt idx="14">
                  <c:v>-5.5099455498110017E-2</c:v>
                </c:pt>
                <c:pt idx="15">
                  <c:v>0.114155752319685</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2</c:f>
              <c:strCache>
                <c:ptCount val="14"/>
                <c:pt idx="0">
                  <c:v>26-Feb-22</c:v>
                </c:pt>
                <c:pt idx="1">
                  <c:v> 26-Mar-22</c:v>
                </c:pt>
                <c:pt idx="2">
                  <c:v> 23-Apr-22</c:v>
                </c:pt>
                <c:pt idx="3">
                  <c:v> 21-May-22</c:v>
                </c:pt>
                <c:pt idx="4">
                  <c:v>18-Jun-22</c:v>
                </c:pt>
                <c:pt idx="5">
                  <c:v> 16-Jul-22</c:v>
                </c:pt>
                <c:pt idx="6">
                  <c:v>13-Aug-22</c:v>
                </c:pt>
                <c:pt idx="7">
                  <c:v>10-Sep-22</c:v>
                </c:pt>
                <c:pt idx="8">
                  <c:v>08-Oct-22</c:v>
                </c:pt>
                <c:pt idx="9">
                  <c:v> 05-Nov-22</c:v>
                </c:pt>
                <c:pt idx="10">
                  <c:v> 03-Dec-22</c:v>
                </c:pt>
                <c:pt idx="11">
                  <c:v>31-Dec-22</c:v>
                </c:pt>
                <c:pt idx="12">
                  <c:v> 28-Jan23</c:v>
                </c:pt>
                <c:pt idx="13">
                  <c:v> 25-Feb-23</c:v>
                </c:pt>
              </c:strCache>
            </c:strRef>
          </c:cat>
          <c:val>
            <c:numRef>
              <c:f>Sheet1!$B$2:$B$42</c:f>
              <c:numCache>
                <c:formatCode>0.0%</c:formatCode>
                <c:ptCount val="14"/>
                <c:pt idx="0">
                  <c:v>0.12422814222200902</c:v>
                </c:pt>
                <c:pt idx="1">
                  <c:v>0.12306202078137034</c:v>
                </c:pt>
                <c:pt idx="2">
                  <c:v>0.11744458864310661</c:v>
                </c:pt>
                <c:pt idx="3">
                  <c:v>0.11650660418444322</c:v>
                </c:pt>
                <c:pt idx="4">
                  <c:v>0.11270370933583033</c:v>
                </c:pt>
                <c:pt idx="5">
                  <c:v>0.11404511405243453</c:v>
                </c:pt>
                <c:pt idx="6">
                  <c:v>0.11230870129979806</c:v>
                </c:pt>
                <c:pt idx="7">
                  <c:v>0.10932352801933339</c:v>
                </c:pt>
                <c:pt idx="8">
                  <c:v>0.10821421064521204</c:v>
                </c:pt>
                <c:pt idx="9">
                  <c:v>0.11300380576778445</c:v>
                </c:pt>
                <c:pt idx="10">
                  <c:v>0.11235015290078447</c:v>
                </c:pt>
                <c:pt idx="11">
                  <c:v>0.10417593575805399</c:v>
                </c:pt>
                <c:pt idx="12">
                  <c:v>0.11087257930719632</c:v>
                </c:pt>
                <c:pt idx="13">
                  <c:v>0.10901395925779564</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12"/>
            <c:marker>
              <c:symbol val="none"/>
            </c:marker>
            <c:bubble3D val="0"/>
            <c:extLst>
              <c:ext xmlns:c16="http://schemas.microsoft.com/office/drawing/2014/chart" uri="{C3380CC4-5D6E-409C-BE32-E72D297353CC}">
                <c16:uniqueId val="{00000002-32C7-4D86-A1CC-8B69241B57FB}"/>
              </c:ext>
            </c:extLst>
          </c:dPt>
          <c:dPt>
            <c:idx val="13"/>
            <c:marker>
              <c:symbol val="none"/>
            </c:marker>
            <c:bubble3D val="0"/>
            <c:extLst>
              <c:ext xmlns:c16="http://schemas.microsoft.com/office/drawing/2014/chart" uri="{C3380CC4-5D6E-409C-BE32-E72D297353CC}">
                <c16:uniqueId val="{00000003-32C7-4D86-A1CC-8B69241B57FB}"/>
              </c:ext>
            </c:extLst>
          </c:dPt>
          <c:cat>
            <c:strRef>
              <c:f>Sheet1!$A$2:$A$42</c:f>
              <c:strCache>
                <c:ptCount val="14"/>
                <c:pt idx="0">
                  <c:v>26-Feb-22</c:v>
                </c:pt>
                <c:pt idx="1">
                  <c:v> 26-Mar-22</c:v>
                </c:pt>
                <c:pt idx="2">
                  <c:v> 23-Apr-22</c:v>
                </c:pt>
                <c:pt idx="3">
                  <c:v> 21-May-22</c:v>
                </c:pt>
                <c:pt idx="4">
                  <c:v>18-Jun-22</c:v>
                </c:pt>
                <c:pt idx="5">
                  <c:v> 16-Jul-22</c:v>
                </c:pt>
                <c:pt idx="6">
                  <c:v>13-Aug-22</c:v>
                </c:pt>
                <c:pt idx="7">
                  <c:v>10-Sep-22</c:v>
                </c:pt>
                <c:pt idx="8">
                  <c:v>08-Oct-22</c:v>
                </c:pt>
                <c:pt idx="9">
                  <c:v> 05-Nov-22</c:v>
                </c:pt>
                <c:pt idx="10">
                  <c:v> 03-Dec-22</c:v>
                </c:pt>
                <c:pt idx="11">
                  <c:v>31-Dec-22</c:v>
                </c:pt>
                <c:pt idx="12">
                  <c:v> 28-Jan23</c:v>
                </c:pt>
                <c:pt idx="13">
                  <c:v> 25-Feb-23</c:v>
                </c:pt>
              </c:strCache>
            </c:strRef>
          </c:cat>
          <c:val>
            <c:numRef>
              <c:f>Sheet1!$C$2:$C$42</c:f>
              <c:numCache>
                <c:formatCode>0.0%</c:formatCode>
                <c:ptCount val="14"/>
                <c:pt idx="0">
                  <c:v>-0.21902303705554416</c:v>
                </c:pt>
                <c:pt idx="1">
                  <c:v>-0.19099873952978574</c:v>
                </c:pt>
                <c:pt idx="2">
                  <c:v>-0.18341479258280724</c:v>
                </c:pt>
                <c:pt idx="3">
                  <c:v>-0.15057669309445609</c:v>
                </c:pt>
                <c:pt idx="4">
                  <c:v>-0.12176113741121997</c:v>
                </c:pt>
                <c:pt idx="5">
                  <c:v>-0.10473880635416621</c:v>
                </c:pt>
                <c:pt idx="6">
                  <c:v>-6.6564907352817615E-2</c:v>
                </c:pt>
                <c:pt idx="7">
                  <c:v>-7.3163729962830715E-2</c:v>
                </c:pt>
                <c:pt idx="8">
                  <c:v>-9.3551973655569109E-2</c:v>
                </c:pt>
                <c:pt idx="9">
                  <c:v>-9.5658751871817715E-3</c:v>
                </c:pt>
                <c:pt idx="10">
                  <c:v>-1.2868967481724392E-2</c:v>
                </c:pt>
                <c:pt idx="11">
                  <c:v>2.8750198328442833E-2</c:v>
                </c:pt>
                <c:pt idx="12">
                  <c:v>-8.5013916777706755E-2</c:v>
                </c:pt>
                <c:pt idx="13">
                  <c:v>-2.4875033648728118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513434400821212E-2"/>
          <c:y val="0.22718719757872105"/>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0-9CFE-49C1-AA8B-E59CB8DC0E2E}"/>
                </c:ext>
              </c:extLst>
            </c:dLbl>
            <c:dLbl>
              <c:idx val="1"/>
              <c:delete val="1"/>
              <c:extLst>
                <c:ext xmlns:c15="http://schemas.microsoft.com/office/drawing/2012/chart" uri="{CE6537A1-D6FC-4f65-9D91-7224C49458BB}"/>
                <c:ext xmlns:c16="http://schemas.microsoft.com/office/drawing/2014/chart" uri="{C3380CC4-5D6E-409C-BE32-E72D297353CC}">
                  <c16:uniqueId val="{0000000F-9CFE-49C1-AA8B-E59CB8DC0E2E}"/>
                </c:ext>
              </c:extLst>
            </c:dLbl>
            <c:dLbl>
              <c:idx val="2"/>
              <c:delete val="1"/>
              <c:extLst>
                <c:ext xmlns:c15="http://schemas.microsoft.com/office/drawing/2012/chart" uri="{CE6537A1-D6FC-4f65-9D91-7224C49458BB}"/>
                <c:ext xmlns:c16="http://schemas.microsoft.com/office/drawing/2014/chart" uri="{C3380CC4-5D6E-409C-BE32-E72D297353CC}">
                  <c16:uniqueId val="{0000000E-9CFE-49C1-AA8B-E59CB8DC0E2E}"/>
                </c:ext>
              </c:extLst>
            </c:dLbl>
            <c:dLbl>
              <c:idx val="3"/>
              <c:delete val="1"/>
              <c:extLst>
                <c:ext xmlns:c15="http://schemas.microsoft.com/office/drawing/2012/chart" uri="{CE6537A1-D6FC-4f65-9D91-7224C49458BB}"/>
                <c:ext xmlns:c16="http://schemas.microsoft.com/office/drawing/2014/chart" uri="{C3380CC4-5D6E-409C-BE32-E72D297353CC}">
                  <c16:uniqueId val="{0000000D-9CFE-49C1-AA8B-E59CB8DC0E2E}"/>
                </c:ext>
              </c:extLst>
            </c:dLbl>
            <c:dLbl>
              <c:idx val="4"/>
              <c:delete val="1"/>
              <c:extLst>
                <c:ext xmlns:c15="http://schemas.microsoft.com/office/drawing/2012/chart" uri="{CE6537A1-D6FC-4f65-9D91-7224C49458BB}"/>
                <c:ext xmlns:c16="http://schemas.microsoft.com/office/drawing/2014/chart" uri="{C3380CC4-5D6E-409C-BE32-E72D297353CC}">
                  <c16:uniqueId val="{0000000C-9CFE-49C1-AA8B-E59CB8DC0E2E}"/>
                </c:ext>
              </c:extLst>
            </c:dLbl>
            <c:dLbl>
              <c:idx val="5"/>
              <c:delete val="1"/>
              <c:extLst>
                <c:ext xmlns:c15="http://schemas.microsoft.com/office/drawing/2012/chart" uri="{CE6537A1-D6FC-4f65-9D91-7224C49458BB}"/>
                <c:ext xmlns:c16="http://schemas.microsoft.com/office/drawing/2014/chart" uri="{C3380CC4-5D6E-409C-BE32-E72D297353CC}">
                  <c16:uniqueId val="{0000000B-9CFE-49C1-AA8B-E59CB8DC0E2E}"/>
                </c:ext>
              </c:extLst>
            </c:dLbl>
            <c:dLbl>
              <c:idx val="6"/>
              <c:delete val="1"/>
              <c:extLst>
                <c:ext xmlns:c15="http://schemas.microsoft.com/office/drawing/2012/chart" uri="{CE6537A1-D6FC-4f65-9D91-7224C49458BB}"/>
                <c:ext xmlns:c16="http://schemas.microsoft.com/office/drawing/2014/chart" uri="{C3380CC4-5D6E-409C-BE32-E72D297353CC}">
                  <c16:uniqueId val="{0000000A-9CFE-49C1-AA8B-E59CB8DC0E2E}"/>
                </c:ext>
              </c:extLst>
            </c:dLbl>
            <c:dLbl>
              <c:idx val="7"/>
              <c:delete val="1"/>
              <c:extLst>
                <c:ext xmlns:c15="http://schemas.microsoft.com/office/drawing/2012/chart" uri="{CE6537A1-D6FC-4f65-9D91-7224C49458BB}"/>
                <c:ext xmlns:c16="http://schemas.microsoft.com/office/drawing/2014/chart" uri="{C3380CC4-5D6E-409C-BE32-E72D297353CC}">
                  <c16:uniqueId val="{00000009-9CFE-49C1-AA8B-E59CB8DC0E2E}"/>
                </c:ext>
              </c:extLst>
            </c:dLbl>
            <c:dLbl>
              <c:idx val="8"/>
              <c:delete val="1"/>
              <c:extLst>
                <c:ext xmlns:c15="http://schemas.microsoft.com/office/drawing/2012/chart" uri="{CE6537A1-D6FC-4f65-9D91-7224C49458BB}"/>
                <c:ext xmlns:c16="http://schemas.microsoft.com/office/drawing/2014/chart" uri="{C3380CC4-5D6E-409C-BE32-E72D297353CC}">
                  <c16:uniqueId val="{00000008-9CFE-49C1-AA8B-E59CB8DC0E2E}"/>
                </c:ext>
              </c:extLst>
            </c:dLbl>
            <c:dLbl>
              <c:idx val="9"/>
              <c:delete val="1"/>
              <c:extLst>
                <c:ext xmlns:c15="http://schemas.microsoft.com/office/drawing/2012/chart" uri="{CE6537A1-D6FC-4f65-9D91-7224C49458BB}"/>
                <c:ext xmlns:c16="http://schemas.microsoft.com/office/drawing/2014/chart" uri="{C3380CC4-5D6E-409C-BE32-E72D297353CC}">
                  <c16:uniqueId val="{00000007-9CFE-49C1-AA8B-E59CB8DC0E2E}"/>
                </c:ext>
              </c:extLst>
            </c:dLbl>
            <c:dLbl>
              <c:idx val="10"/>
              <c:delete val="1"/>
              <c:extLst>
                <c:ext xmlns:c15="http://schemas.microsoft.com/office/drawing/2012/chart" uri="{CE6537A1-D6FC-4f65-9D91-7224C49458BB}"/>
                <c:ext xmlns:c16="http://schemas.microsoft.com/office/drawing/2014/chart" uri="{C3380CC4-5D6E-409C-BE32-E72D297353CC}">
                  <c16:uniqueId val="{00000006-9CFE-49C1-AA8B-E59CB8DC0E2E}"/>
                </c:ext>
              </c:extLst>
            </c:dLbl>
            <c:dLbl>
              <c:idx val="11"/>
              <c:delete val="1"/>
              <c:extLst>
                <c:ext xmlns:c15="http://schemas.microsoft.com/office/drawing/2012/chart" uri="{CE6537A1-D6FC-4f65-9D91-7224C49458BB}"/>
                <c:ext xmlns:c16="http://schemas.microsoft.com/office/drawing/2014/chart" uri="{C3380CC4-5D6E-409C-BE32-E72D297353CC}">
                  <c16:uniqueId val="{00000005-9CFE-49C1-AA8B-E59CB8DC0E2E}"/>
                </c:ext>
              </c:extLst>
            </c:dLbl>
            <c:dLbl>
              <c:idx val="12"/>
              <c:delete val="1"/>
              <c:extLst>
                <c:ext xmlns:c15="http://schemas.microsoft.com/office/drawing/2012/chart" uri="{CE6537A1-D6FC-4f65-9D91-7224C49458BB}"/>
                <c:ext xmlns:c16="http://schemas.microsoft.com/office/drawing/2014/chart" uri="{C3380CC4-5D6E-409C-BE32-E72D297353CC}">
                  <c16:uniqueId val="{00000004-9CFE-49C1-AA8B-E59CB8DC0E2E}"/>
                </c:ext>
              </c:extLst>
            </c:dLbl>
            <c:dLbl>
              <c:idx val="13"/>
              <c:layout>
                <c:manualLayout>
                  <c:x val="-1.2302071944908429E-16"/>
                  <c:y val="-3.6180161249565912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14"/>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 25-Feb-23</c:v>
                </c:pt>
              </c:strCache>
            </c:strRef>
          </c:cat>
          <c:val>
            <c:numRef>
              <c:f>Sheet1!$B$2:$B$27</c:f>
              <c:numCache>
                <c:formatCode>0.0%</c:formatCode>
                <c:ptCount val="14"/>
                <c:pt idx="0">
                  <c:v>-0.17509364448434117</c:v>
                </c:pt>
                <c:pt idx="1">
                  <c:v>-0.12673358859105943</c:v>
                </c:pt>
                <c:pt idx="2">
                  <c:v>-9.2246085459047222E-2</c:v>
                </c:pt>
                <c:pt idx="3">
                  <c:v>-5.6820442757390621E-2</c:v>
                </c:pt>
                <c:pt idx="4">
                  <c:v>-6.7323575151389203E-2</c:v>
                </c:pt>
                <c:pt idx="5">
                  <c:v>-5.1931305541027872E-2</c:v>
                </c:pt>
                <c:pt idx="6">
                  <c:v>-4.4635534318888892E-2</c:v>
                </c:pt>
                <c:pt idx="7">
                  <c:v>-1.6536860074715554E-2</c:v>
                </c:pt>
                <c:pt idx="8">
                  <c:v>-3.6728079888469711E-2</c:v>
                </c:pt>
                <c:pt idx="9">
                  <c:v>-3.2868892508315595E-2</c:v>
                </c:pt>
                <c:pt idx="10">
                  <c:v>-2.6420020312704739E-2</c:v>
                </c:pt>
                <c:pt idx="11">
                  <c:v>-2.8038701014160505E-2</c:v>
                </c:pt>
                <c:pt idx="12">
                  <c:v>-0.10108394078914062</c:v>
                </c:pt>
                <c:pt idx="13">
                  <c:v>-4.8416519733281871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1.80900806247828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27</c:f>
              <c:strCache>
                <c:ptCount val="14"/>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 25-Feb-23</c:v>
                </c:pt>
              </c:strCache>
            </c:strRef>
          </c:cat>
          <c:val>
            <c:numRef>
              <c:f>Sheet1!$C$2:$C$27</c:f>
              <c:numCache>
                <c:formatCode>0.0%</c:formatCode>
                <c:ptCount val="14"/>
                <c:pt idx="0">
                  <c:v>-0.17872436337009046</c:v>
                </c:pt>
                <c:pt idx="1">
                  <c:v>-0.15281281675900371</c:v>
                </c:pt>
                <c:pt idx="2">
                  <c:v>-0.14296963713117328</c:v>
                </c:pt>
                <c:pt idx="3">
                  <c:v>-0.10978999770873754</c:v>
                </c:pt>
                <c:pt idx="4">
                  <c:v>-9.9523166151523901E-2</c:v>
                </c:pt>
                <c:pt idx="5">
                  <c:v>-6.9482819125601947E-2</c:v>
                </c:pt>
                <c:pt idx="6">
                  <c:v>-5.8468797585143562E-2</c:v>
                </c:pt>
                <c:pt idx="7">
                  <c:v>-5.1644680038255952E-2</c:v>
                </c:pt>
                <c:pt idx="8">
                  <c:v>-7.5906096417830637E-2</c:v>
                </c:pt>
                <c:pt idx="9">
                  <c:v>-2.6019633640588236E-2</c:v>
                </c:pt>
                <c:pt idx="10">
                  <c:v>-3.4493146850361867E-2</c:v>
                </c:pt>
                <c:pt idx="11">
                  <c:v>-7.4556930680830247E-3</c:v>
                </c:pt>
                <c:pt idx="12">
                  <c:v>-0.10391518789088894</c:v>
                </c:pt>
                <c:pt idx="13">
                  <c:v>-4.8545461320533834E-2</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2.532611287469607E-2"/>
                </c:manualLayout>
              </c:layout>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7</c:f>
              <c:strCache>
                <c:ptCount val="14"/>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 25-Feb-23</c:v>
                </c:pt>
              </c:strCache>
            </c:strRef>
          </c:cat>
          <c:val>
            <c:numRef>
              <c:f>Sheet1!$D$2:$D$27</c:f>
              <c:numCache>
                <c:formatCode>0.0%</c:formatCode>
                <c:ptCount val="14"/>
                <c:pt idx="0">
                  <c:v>-7.5978959672705959E-2</c:v>
                </c:pt>
                <c:pt idx="1">
                  <c:v>-6.6279069767441912E-2</c:v>
                </c:pt>
                <c:pt idx="2">
                  <c:v>-7.328467153284679E-2</c:v>
                </c:pt>
                <c:pt idx="3">
                  <c:v>-7.9695282742455409E-2</c:v>
                </c:pt>
                <c:pt idx="4">
                  <c:v>-7.2109654350417163E-2</c:v>
                </c:pt>
                <c:pt idx="5">
                  <c:v>-7.5477417399211988E-2</c:v>
                </c:pt>
                <c:pt idx="6">
                  <c:v>-7.562250230556411E-2</c:v>
                </c:pt>
                <c:pt idx="7">
                  <c:v>-9.1379835516296026E-2</c:v>
                </c:pt>
                <c:pt idx="8">
                  <c:v>-9.138141809290945E-2</c:v>
                </c:pt>
                <c:pt idx="9">
                  <c:v>-6.8089112017571396E-2</c:v>
                </c:pt>
                <c:pt idx="10">
                  <c:v>-7.8537360890302055E-2</c:v>
                </c:pt>
                <c:pt idx="11">
                  <c:v>-6.5541855937702787E-2</c:v>
                </c:pt>
                <c:pt idx="12">
                  <c:v>-8.6435739721592797E-2</c:v>
                </c:pt>
                <c:pt idx="13">
                  <c:v>-8.0012650221378934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14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8.4411817364792974E-2</c:v>
                </c:pt>
                <c:pt idx="1">
                  <c:v>7.325750085267102E-2</c:v>
                </c:pt>
                <c:pt idx="2">
                  <c:v>0.12335282196538211</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7.9961715066775074E-2</c:v>
                </c:pt>
                <c:pt idx="1">
                  <c:v>7.0807949448290497E-2</c:v>
                </c:pt>
                <c:pt idx="2">
                  <c:v>0.11165822358882727</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scaling>
        <c:delete val="1"/>
        <c:axPos val="l"/>
        <c:numFmt formatCode="0%" sourceLinked="0"/>
        <c:majorTickMark val="none"/>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4"/>
                <c:pt idx="0">
                  <c:v>04-Feb-23</c:v>
                </c:pt>
                <c:pt idx="1">
                  <c:v>11-Feb-23</c:v>
                </c:pt>
                <c:pt idx="2">
                  <c:v>18-Feb-23</c:v>
                </c:pt>
                <c:pt idx="3">
                  <c:v> 25-Feb-23</c:v>
                </c:pt>
              </c:strCache>
            </c:strRef>
          </c:cat>
          <c:val>
            <c:numRef>
              <c:f>Sheet1!$B$2:$B$33</c:f>
              <c:numCache>
                <c:formatCode>0.0%</c:formatCode>
                <c:ptCount val="4"/>
                <c:pt idx="0">
                  <c:v>7.3077845025891097E-2</c:v>
                </c:pt>
                <c:pt idx="1">
                  <c:v>6.1500000169077529E-2</c:v>
                </c:pt>
                <c:pt idx="2">
                  <c:v>8.6610105512823665E-2</c:v>
                </c:pt>
                <c:pt idx="3">
                  <c:v>7.1718922709325561E-2</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3</c:f>
              <c:strCache>
                <c:ptCount val="4"/>
                <c:pt idx="0">
                  <c:v>04-Feb-23</c:v>
                </c:pt>
                <c:pt idx="1">
                  <c:v>11-Feb-23</c:v>
                </c:pt>
                <c:pt idx="2">
                  <c:v>18-Feb-23</c:v>
                </c:pt>
                <c:pt idx="3">
                  <c:v> 25-Feb-23</c:v>
                </c:pt>
              </c:strCache>
            </c:strRef>
          </c:cat>
          <c:val>
            <c:numRef>
              <c:f>Sheet1!$C$2:$C$33</c:f>
              <c:numCache>
                <c:formatCode>0.0%</c:formatCode>
                <c:ptCount val="4"/>
                <c:pt idx="0">
                  <c:v>0.11987527614639326</c:v>
                </c:pt>
                <c:pt idx="1">
                  <c:v>0.11992879673410028</c:v>
                </c:pt>
                <c:pt idx="2">
                  <c:v>0.13028017247705459</c:v>
                </c:pt>
                <c:pt idx="3">
                  <c:v>0.12321055410462067</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
        </c:scaling>
        <c:delete val="1"/>
        <c:axPos val="l"/>
        <c:numFmt formatCode="0%" sourceLinked="0"/>
        <c:majorTickMark val="none"/>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982978301628722E-2"/>
          <c:y val="2.4361876619087303E-2"/>
          <c:w val="0.85352765195315194"/>
          <c:h val="0.65392804041628694"/>
        </c:manualLayout>
      </c:layout>
      <c:barChart>
        <c:barDir val="col"/>
        <c:grouping val="clustered"/>
        <c:varyColors val="0"/>
        <c:ser>
          <c:idx val="0"/>
          <c:order val="0"/>
          <c:tx>
            <c:strRef>
              <c:f>Sheet1!$B$1</c:f>
              <c:strCache>
                <c:ptCount val="1"/>
                <c:pt idx="0">
                  <c:v>Bakery</c:v>
                </c:pt>
              </c:strCache>
            </c:strRef>
          </c:tx>
          <c:spPr>
            <a:solidFill>
              <a:schemeClr val="bg2"/>
            </a:solidFill>
            <a:ln>
              <a:noFill/>
            </a:ln>
            <a:effectLst/>
          </c:spPr>
          <c:invertIfNegative val="0"/>
          <c:dLbls>
            <c:delete val="1"/>
          </c:dLbls>
          <c:cat>
            <c:strRef>
              <c:f>Sheet1!$A$2:$A$5</c:f>
              <c:strCache>
                <c:ptCount val="3"/>
                <c:pt idx="0">
                  <c:v>In Store</c:v>
                </c:pt>
                <c:pt idx="1">
                  <c:v>Online</c:v>
                </c:pt>
                <c:pt idx="2">
                  <c:v>Discounters</c:v>
                </c:pt>
              </c:strCache>
            </c:strRef>
          </c:cat>
          <c:val>
            <c:numRef>
              <c:f>Sheet1!$B$2:$B$5</c:f>
              <c:numCache>
                <c:formatCode>0</c:formatCode>
                <c:ptCount val="3"/>
                <c:pt idx="0">
                  <c:v>95.156376929325731</c:v>
                </c:pt>
                <c:pt idx="1">
                  <c:v>67.149002737583103</c:v>
                </c:pt>
                <c:pt idx="2">
                  <c:v>78.548111301103688</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Dairy</c:v>
                </c:pt>
              </c:strCache>
            </c:strRef>
          </c:tx>
          <c:spPr>
            <a:solidFill>
              <a:schemeClr val="accent1"/>
            </a:solidFill>
            <a:ln>
              <a:noFill/>
            </a:ln>
            <a:effectLst/>
          </c:spPr>
          <c:invertIfNegative val="0"/>
          <c:dLbls>
            <c:delete val="1"/>
          </c:dLbls>
          <c:cat>
            <c:strRef>
              <c:f>Sheet1!$A$2:$A$5</c:f>
              <c:strCache>
                <c:ptCount val="3"/>
                <c:pt idx="0">
                  <c:v>In Store</c:v>
                </c:pt>
                <c:pt idx="1">
                  <c:v>Online</c:v>
                </c:pt>
                <c:pt idx="2">
                  <c:v>Discounters</c:v>
                </c:pt>
              </c:strCache>
            </c:strRef>
          </c:cat>
          <c:val>
            <c:numRef>
              <c:f>Sheet1!$C$2:$C$5</c:f>
              <c:numCache>
                <c:formatCode>0</c:formatCode>
                <c:ptCount val="3"/>
                <c:pt idx="0">
                  <c:v>96.486596263200639</c:v>
                </c:pt>
                <c:pt idx="1">
                  <c:v>75.40086038326163</c:v>
                </c:pt>
                <c:pt idx="2">
                  <c:v>80.38240323332816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Delicatessen</c:v>
                </c:pt>
              </c:strCache>
            </c:strRef>
          </c:tx>
          <c:spPr>
            <a:solidFill>
              <a:schemeClr val="accent2"/>
            </a:solidFill>
            <a:ln>
              <a:noFill/>
            </a:ln>
            <a:effectLst/>
          </c:spPr>
          <c:invertIfNegative val="0"/>
          <c:dLbls>
            <c:delete val="1"/>
          </c:dLbls>
          <c:cat>
            <c:strRef>
              <c:f>Sheet1!$A$2:$A$5</c:f>
              <c:strCache>
                <c:ptCount val="3"/>
                <c:pt idx="0">
                  <c:v>In Store</c:v>
                </c:pt>
                <c:pt idx="1">
                  <c:v>Online</c:v>
                </c:pt>
                <c:pt idx="2">
                  <c:v>Discounters</c:v>
                </c:pt>
              </c:strCache>
            </c:strRef>
          </c:cat>
          <c:val>
            <c:numRef>
              <c:f>Sheet1!$D$2:$D$5</c:f>
              <c:numCache>
                <c:formatCode>0</c:formatCode>
                <c:ptCount val="3"/>
                <c:pt idx="0">
                  <c:v>96.841998375304627</c:v>
                </c:pt>
                <c:pt idx="1">
                  <c:v>74.227610481032457</c:v>
                </c:pt>
                <c:pt idx="2">
                  <c:v>84.579511891807869</c:v>
                </c:pt>
              </c:numCache>
            </c:numRef>
          </c:val>
          <c:extLst>
            <c:ext xmlns:c16="http://schemas.microsoft.com/office/drawing/2014/chart" uri="{C3380CC4-5D6E-409C-BE32-E72D297353CC}">
              <c16:uniqueId val="{00000002-0FB2-4775-84E6-835214C9350B}"/>
            </c:ext>
          </c:extLst>
        </c:ser>
        <c:ser>
          <c:idx val="3"/>
          <c:order val="3"/>
          <c:tx>
            <c:strRef>
              <c:f>Sheet1!$E$1</c:f>
              <c:strCache>
                <c:ptCount val="1"/>
                <c:pt idx="0">
                  <c:v>Produce</c:v>
                </c:pt>
              </c:strCache>
            </c:strRef>
          </c:tx>
          <c:spPr>
            <a:solidFill>
              <a:schemeClr val="accent4"/>
            </a:solidFill>
            <a:ln>
              <a:noFill/>
            </a:ln>
            <a:effectLst/>
          </c:spPr>
          <c:invertIfNegative val="0"/>
          <c:dLbls>
            <c:delete val="1"/>
          </c:dLbls>
          <c:cat>
            <c:strRef>
              <c:f>Sheet1!$A$2:$A$5</c:f>
              <c:strCache>
                <c:ptCount val="3"/>
                <c:pt idx="0">
                  <c:v>In Store</c:v>
                </c:pt>
                <c:pt idx="1">
                  <c:v>Online</c:v>
                </c:pt>
                <c:pt idx="2">
                  <c:v>Discounters</c:v>
                </c:pt>
              </c:strCache>
            </c:strRef>
          </c:cat>
          <c:val>
            <c:numRef>
              <c:f>Sheet1!$E$2:$E$5</c:f>
              <c:numCache>
                <c:formatCode>0</c:formatCode>
                <c:ptCount val="3"/>
                <c:pt idx="0">
                  <c:v>95.47116165718927</c:v>
                </c:pt>
                <c:pt idx="1">
                  <c:v>72.233085647242859</c:v>
                </c:pt>
                <c:pt idx="2">
                  <c:v>87.455308565210629</c:v>
                </c:pt>
              </c:numCache>
            </c:numRef>
          </c:val>
          <c:extLst>
            <c:ext xmlns:c16="http://schemas.microsoft.com/office/drawing/2014/chart" uri="{C3380CC4-5D6E-409C-BE32-E72D297353CC}">
              <c16:uniqueId val="{00000000-938E-48DC-A8E0-EEDB2E88A396}"/>
            </c:ext>
          </c:extLst>
        </c:ser>
        <c:ser>
          <c:idx val="4"/>
          <c:order val="4"/>
          <c:tx>
            <c:strRef>
              <c:f>Sheet1!$F$1</c:f>
              <c:strCache>
                <c:ptCount val="1"/>
                <c:pt idx="0">
                  <c:v>Meat Fish &amp; Poultry</c:v>
                </c:pt>
              </c:strCache>
            </c:strRef>
          </c:tx>
          <c:spPr>
            <a:solidFill>
              <a:schemeClr val="accent5"/>
            </a:solidFill>
            <a:ln>
              <a:noFill/>
            </a:ln>
            <a:effectLst/>
          </c:spPr>
          <c:invertIfNegative val="0"/>
          <c:dLbls>
            <c:delete val="1"/>
          </c:dLbls>
          <c:cat>
            <c:strRef>
              <c:f>Sheet1!$A$2:$A$5</c:f>
              <c:strCache>
                <c:ptCount val="3"/>
                <c:pt idx="0">
                  <c:v>In Store</c:v>
                </c:pt>
                <c:pt idx="1">
                  <c:v>Online</c:v>
                </c:pt>
                <c:pt idx="2">
                  <c:v>Discounters</c:v>
                </c:pt>
              </c:strCache>
            </c:strRef>
          </c:cat>
          <c:val>
            <c:numRef>
              <c:f>Sheet1!$F$2:$F$5</c:f>
              <c:numCache>
                <c:formatCode>0</c:formatCode>
                <c:ptCount val="3"/>
                <c:pt idx="0">
                  <c:v>83.935824532900071</c:v>
                </c:pt>
                <c:pt idx="1">
                  <c:v>57.997653500195547</c:v>
                </c:pt>
                <c:pt idx="2">
                  <c:v>64.169127934089857</c:v>
                </c:pt>
              </c:numCache>
            </c:numRef>
          </c:val>
          <c:extLst>
            <c:ext xmlns:c16="http://schemas.microsoft.com/office/drawing/2014/chart" uri="{C3380CC4-5D6E-409C-BE32-E72D297353CC}">
              <c16:uniqueId val="{00000001-938E-48DC-A8E0-EEDB2E88A396}"/>
            </c:ext>
          </c:extLst>
        </c:ser>
        <c:ser>
          <c:idx val="5"/>
          <c:order val="5"/>
          <c:tx>
            <c:strRef>
              <c:f>Sheet1!$G$1</c:f>
              <c:strCache>
                <c:ptCount val="1"/>
                <c:pt idx="0">
                  <c:v>Packaged Grocery</c:v>
                </c:pt>
              </c:strCache>
            </c:strRef>
          </c:tx>
          <c:spPr>
            <a:solidFill>
              <a:schemeClr val="accent6"/>
            </a:solidFill>
            <a:ln>
              <a:noFill/>
            </a:ln>
            <a:effectLst/>
          </c:spPr>
          <c:invertIfNegative val="0"/>
          <c:dLbls>
            <c:delete val="1"/>
          </c:dLbls>
          <c:cat>
            <c:strRef>
              <c:f>Sheet1!$A$2:$A$5</c:f>
              <c:strCache>
                <c:ptCount val="3"/>
                <c:pt idx="0">
                  <c:v>In Store</c:v>
                </c:pt>
                <c:pt idx="1">
                  <c:v>Online</c:v>
                </c:pt>
                <c:pt idx="2">
                  <c:v>Discounters</c:v>
                </c:pt>
              </c:strCache>
            </c:strRef>
          </c:cat>
          <c:val>
            <c:numRef>
              <c:f>Sheet1!$G$2:$G$5</c:f>
              <c:numCache>
                <c:formatCode>0</c:formatCode>
                <c:ptCount val="3"/>
                <c:pt idx="0">
                  <c:v>97.806661251015427</c:v>
                </c:pt>
                <c:pt idx="1">
                  <c:v>80.563159953070013</c:v>
                </c:pt>
                <c:pt idx="2">
                  <c:v>91.170526970309339</c:v>
                </c:pt>
              </c:numCache>
            </c:numRef>
          </c:val>
          <c:extLst>
            <c:ext xmlns:c16="http://schemas.microsoft.com/office/drawing/2014/chart" uri="{C3380CC4-5D6E-409C-BE32-E72D297353CC}">
              <c16:uniqueId val="{00000002-938E-48DC-A8E0-EEDB2E88A396}"/>
            </c:ext>
          </c:extLst>
        </c:ser>
        <c:ser>
          <c:idx val="6"/>
          <c:order val="6"/>
          <c:tx>
            <c:strRef>
              <c:f>Sheet1!$H$1</c:f>
              <c:strCache>
                <c:ptCount val="1"/>
                <c:pt idx="0">
                  <c:v>Frozen</c:v>
                </c:pt>
              </c:strCache>
            </c:strRef>
          </c:tx>
          <c:spPr>
            <a:solidFill>
              <a:schemeClr val="accent1">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H$2:$H$5</c:f>
              <c:numCache>
                <c:formatCode>0</c:formatCode>
                <c:ptCount val="3"/>
                <c:pt idx="0">
                  <c:v>83.265637692932572</c:v>
                </c:pt>
                <c:pt idx="1">
                  <c:v>65.936644505279617</c:v>
                </c:pt>
                <c:pt idx="2">
                  <c:v>63.671692833825588</c:v>
                </c:pt>
              </c:numCache>
            </c:numRef>
          </c:val>
          <c:extLst>
            <c:ext xmlns:c16="http://schemas.microsoft.com/office/drawing/2014/chart" uri="{C3380CC4-5D6E-409C-BE32-E72D297353CC}">
              <c16:uniqueId val="{00000003-938E-48DC-A8E0-EEDB2E88A396}"/>
            </c:ext>
          </c:extLst>
        </c:ser>
        <c:ser>
          <c:idx val="7"/>
          <c:order val="7"/>
          <c:tx>
            <c:strRef>
              <c:f>Sheet1!$I$1</c:f>
              <c:strCache>
                <c:ptCount val="1"/>
                <c:pt idx="0">
                  <c:v>Health &amp; Beauty</c:v>
                </c:pt>
              </c:strCache>
            </c:strRef>
          </c:tx>
          <c:spPr>
            <a:solidFill>
              <a:schemeClr val="accent2">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I$2:$I$5</c:f>
              <c:numCache>
                <c:formatCode>0</c:formatCode>
                <c:ptCount val="3"/>
                <c:pt idx="0">
                  <c:v>81.742485783915512</c:v>
                </c:pt>
                <c:pt idx="1">
                  <c:v>57.450136879155252</c:v>
                </c:pt>
                <c:pt idx="2">
                  <c:v>47.707135084719418</c:v>
                </c:pt>
              </c:numCache>
            </c:numRef>
          </c:val>
          <c:extLst>
            <c:ext xmlns:c16="http://schemas.microsoft.com/office/drawing/2014/chart" uri="{C3380CC4-5D6E-409C-BE32-E72D297353CC}">
              <c16:uniqueId val="{00000004-938E-48DC-A8E0-EEDB2E88A396}"/>
            </c:ext>
          </c:extLst>
        </c:ser>
        <c:ser>
          <c:idx val="8"/>
          <c:order val="8"/>
          <c:tx>
            <c:strRef>
              <c:f>Sheet1!$J$1</c:f>
              <c:strCache>
                <c:ptCount val="1"/>
                <c:pt idx="0">
                  <c:v>Household</c:v>
                </c:pt>
              </c:strCache>
            </c:strRef>
          </c:tx>
          <c:spPr>
            <a:solidFill>
              <a:schemeClr val="accent3">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J$2:$J$5</c:f>
              <c:numCache>
                <c:formatCode>0</c:formatCode>
                <c:ptCount val="3"/>
                <c:pt idx="0">
                  <c:v>88.505280259951249</c:v>
                </c:pt>
                <c:pt idx="1">
                  <c:v>70.942510754790774</c:v>
                </c:pt>
                <c:pt idx="2">
                  <c:v>65.163998134618382</c:v>
                </c:pt>
              </c:numCache>
            </c:numRef>
          </c:val>
          <c:extLst>
            <c:ext xmlns:c16="http://schemas.microsoft.com/office/drawing/2014/chart" uri="{C3380CC4-5D6E-409C-BE32-E72D297353CC}">
              <c16:uniqueId val="{00000005-938E-48DC-A8E0-EEDB2E88A396}"/>
            </c:ext>
          </c:extLst>
        </c:ser>
        <c:ser>
          <c:idx val="9"/>
          <c:order val="9"/>
          <c:tx>
            <c:strRef>
              <c:f>Sheet1!$K$1</c:f>
              <c:strCache>
                <c:ptCount val="1"/>
                <c:pt idx="0">
                  <c:v>Confectionery</c:v>
                </c:pt>
              </c:strCache>
            </c:strRef>
          </c:tx>
          <c:spPr>
            <a:solidFill>
              <a:schemeClr val="accent4">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K$2:$K$5</c:f>
              <c:numCache>
                <c:formatCode>0</c:formatCode>
                <c:ptCount val="3"/>
                <c:pt idx="0">
                  <c:v>94.526807473598694</c:v>
                </c:pt>
                <c:pt idx="1">
                  <c:v>62.37778646851779</c:v>
                </c:pt>
                <c:pt idx="2">
                  <c:v>75.485776465101821</c:v>
                </c:pt>
              </c:numCache>
            </c:numRef>
          </c:val>
          <c:extLst>
            <c:ext xmlns:c16="http://schemas.microsoft.com/office/drawing/2014/chart" uri="{C3380CC4-5D6E-409C-BE32-E72D297353CC}">
              <c16:uniqueId val="{00000006-938E-48DC-A8E0-EEDB2E88A396}"/>
            </c:ext>
          </c:extLst>
        </c:ser>
        <c:ser>
          <c:idx val="10"/>
          <c:order val="10"/>
          <c:tx>
            <c:strRef>
              <c:f>Sheet1!$L$1</c:f>
              <c:strCache>
                <c:ptCount val="1"/>
                <c:pt idx="0">
                  <c:v>Soft Drinks</c:v>
                </c:pt>
              </c:strCache>
            </c:strRef>
          </c:tx>
          <c:spPr>
            <a:solidFill>
              <a:schemeClr val="accent5">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L$2:$L$5</c:f>
              <c:numCache>
                <c:formatCode>0</c:formatCode>
                <c:ptCount val="3"/>
                <c:pt idx="0">
                  <c:v>88.01787164906581</c:v>
                </c:pt>
                <c:pt idx="1">
                  <c:v>63.277278060226827</c:v>
                </c:pt>
                <c:pt idx="2">
                  <c:v>59.956474428726878</c:v>
                </c:pt>
              </c:numCache>
            </c:numRef>
          </c:val>
          <c:extLst>
            <c:ext xmlns:c16="http://schemas.microsoft.com/office/drawing/2014/chart" uri="{C3380CC4-5D6E-409C-BE32-E72D297353CC}">
              <c16:uniqueId val="{00000007-938E-48DC-A8E0-EEDB2E88A396}"/>
            </c:ext>
          </c:extLst>
        </c:ser>
        <c:ser>
          <c:idx val="11"/>
          <c:order val="11"/>
          <c:tx>
            <c:strRef>
              <c:f>Sheet1!$M$1</c:f>
              <c:strCache>
                <c:ptCount val="1"/>
                <c:pt idx="0">
                  <c:v>BWS</c:v>
                </c:pt>
              </c:strCache>
            </c:strRef>
          </c:tx>
          <c:spPr>
            <a:solidFill>
              <a:schemeClr val="accent6">
                <a:lumMod val="60000"/>
              </a:schemeClr>
            </a:solidFill>
            <a:ln>
              <a:noFill/>
            </a:ln>
            <a:effectLst/>
          </c:spPr>
          <c:invertIfNegative val="0"/>
          <c:dLbls>
            <c:delete val="1"/>
          </c:dLbls>
          <c:cat>
            <c:strRef>
              <c:f>Sheet1!$A$2:$A$5</c:f>
              <c:strCache>
                <c:ptCount val="3"/>
                <c:pt idx="0">
                  <c:v>In Store</c:v>
                </c:pt>
                <c:pt idx="1">
                  <c:v>Online</c:v>
                </c:pt>
                <c:pt idx="2">
                  <c:v>Discounters</c:v>
                </c:pt>
              </c:strCache>
            </c:strRef>
          </c:cat>
          <c:val>
            <c:numRef>
              <c:f>Sheet1!$M$2:$M$5</c:f>
              <c:numCache>
                <c:formatCode>0</c:formatCode>
                <c:ptCount val="3"/>
                <c:pt idx="0">
                  <c:v>49.898456539398865</c:v>
                </c:pt>
                <c:pt idx="1">
                  <c:v>24.872897927258506</c:v>
                </c:pt>
                <c:pt idx="2">
                  <c:v>27.265661433234882</c:v>
                </c:pt>
              </c:numCache>
            </c:numRef>
          </c:val>
          <c:extLst>
            <c:ext xmlns:c16="http://schemas.microsoft.com/office/drawing/2014/chart" uri="{C3380CC4-5D6E-409C-BE32-E72D297353CC}">
              <c16:uniqueId val="{00000008-938E-48DC-A8E0-EEDB2E88A396}"/>
            </c:ext>
          </c:extLst>
        </c:ser>
        <c:dLbls>
          <c:showLegendKey val="0"/>
          <c:showVal val="1"/>
          <c:showCatName val="0"/>
          <c:showSerName val="0"/>
          <c:showPercent val="0"/>
          <c:showBubbleSize val="0"/>
        </c:dLbls>
        <c:gapWidth val="11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max val="1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25"/>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M&amp;S</c:v>
                </c:pt>
                <c:pt idx="1">
                  <c:v>Lidl</c:v>
                </c:pt>
                <c:pt idx="2">
                  <c:v>Co-op</c:v>
                </c:pt>
                <c:pt idx="3">
                  <c:v>Tesco</c:v>
                </c:pt>
                <c:pt idx="4">
                  <c:v>Ocado</c:v>
                </c:pt>
                <c:pt idx="5">
                  <c:v>ASDA</c:v>
                </c:pt>
                <c:pt idx="6">
                  <c:v>Sainsbury's</c:v>
                </c:pt>
                <c:pt idx="7">
                  <c:v>Morrisons</c:v>
                </c:pt>
                <c:pt idx="8">
                  <c:v>Aldi </c:v>
                </c:pt>
                <c:pt idx="9">
                  <c:v>Waitrose</c:v>
                </c:pt>
                <c:pt idx="10">
                  <c:v>Iceland</c:v>
                </c:pt>
              </c:strCache>
            </c:strRef>
          </c:cat>
          <c:val>
            <c:numRef>
              <c:f>Sheet1!$B$2:$B$12</c:f>
              <c:numCache>
                <c:formatCode>0.0%</c:formatCode>
                <c:ptCount val="11"/>
                <c:pt idx="0">
                  <c:v>5.982229498113778E-2</c:v>
                </c:pt>
                <c:pt idx="1">
                  <c:v>7.3924345476090947E-2</c:v>
                </c:pt>
                <c:pt idx="2">
                  <c:v>-1.5186893413637881E-2</c:v>
                </c:pt>
                <c:pt idx="3">
                  <c:v>3.6460626632417448E-3</c:v>
                </c:pt>
                <c:pt idx="4">
                  <c:v>1.678004183295756E-2</c:v>
                </c:pt>
                <c:pt idx="5">
                  <c:v>2.7046477477395303E-2</c:v>
                </c:pt>
                <c:pt idx="6">
                  <c:v>4.1727617321964949E-2</c:v>
                </c:pt>
                <c:pt idx="7">
                  <c:v>3.4416317598512824E-2</c:v>
                </c:pt>
                <c:pt idx="8">
                  <c:v>1.7349219565507834E-2</c:v>
                </c:pt>
                <c:pt idx="9">
                  <c:v>-3.0444780827398432E-2</c:v>
                </c:pt>
                <c:pt idx="10">
                  <c:v>3.9949133463561992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M&amp;S</c:v>
                </c:pt>
                <c:pt idx="1">
                  <c:v>Lidl</c:v>
                </c:pt>
                <c:pt idx="2">
                  <c:v>Co-op</c:v>
                </c:pt>
                <c:pt idx="3">
                  <c:v>Tesco</c:v>
                </c:pt>
                <c:pt idx="4">
                  <c:v>Ocado</c:v>
                </c:pt>
                <c:pt idx="5">
                  <c:v>ASDA</c:v>
                </c:pt>
                <c:pt idx="6">
                  <c:v>Sainsbury's</c:v>
                </c:pt>
                <c:pt idx="7">
                  <c:v>Morrisons</c:v>
                </c:pt>
                <c:pt idx="8">
                  <c:v>Aldi </c:v>
                </c:pt>
                <c:pt idx="9">
                  <c:v>Waitrose</c:v>
                </c:pt>
                <c:pt idx="10">
                  <c:v>Iceland</c:v>
                </c:pt>
              </c:strCache>
            </c:strRef>
          </c:cat>
          <c:val>
            <c:numRef>
              <c:f>Sheet1!$C$2:$C$12</c:f>
              <c:numCache>
                <c:formatCode>0.0%</c:formatCode>
                <c:ptCount val="11"/>
                <c:pt idx="0">
                  <c:v>0.122945156606451</c:v>
                </c:pt>
                <c:pt idx="1">
                  <c:v>0.12486018674776433</c:v>
                </c:pt>
                <c:pt idx="2">
                  <c:v>3.7098993218048548E-2</c:v>
                </c:pt>
                <c:pt idx="3">
                  <c:v>3.1738718510011088E-2</c:v>
                </c:pt>
                <c:pt idx="4">
                  <c:v>-1.794365170344514E-2</c:v>
                </c:pt>
                <c:pt idx="5">
                  <c:v>6.8874651370550932E-2</c:v>
                </c:pt>
                <c:pt idx="6">
                  <c:v>6.0790435572333434E-2</c:v>
                </c:pt>
                <c:pt idx="7">
                  <c:v>8.8948712636973459E-2</c:v>
                </c:pt>
                <c:pt idx="8">
                  <c:v>6.0397059079561277E-2</c:v>
                </c:pt>
                <c:pt idx="9">
                  <c:v>6.9690883795052283E-2</c:v>
                </c:pt>
                <c:pt idx="10">
                  <c:v>5.8452612725251374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M&amp;S</c:v>
                </c:pt>
                <c:pt idx="1">
                  <c:v>Lidl</c:v>
                </c:pt>
                <c:pt idx="2">
                  <c:v>Co-op</c:v>
                </c:pt>
                <c:pt idx="3">
                  <c:v>Tesco</c:v>
                </c:pt>
                <c:pt idx="4">
                  <c:v>Ocado</c:v>
                </c:pt>
                <c:pt idx="5">
                  <c:v>ASDA</c:v>
                </c:pt>
                <c:pt idx="6">
                  <c:v>Sainsbury's</c:v>
                </c:pt>
                <c:pt idx="7">
                  <c:v>Morrisons</c:v>
                </c:pt>
                <c:pt idx="8">
                  <c:v>Aldi </c:v>
                </c:pt>
                <c:pt idx="9">
                  <c:v>Waitrose</c:v>
                </c:pt>
                <c:pt idx="10">
                  <c:v>Iceland</c:v>
                </c:pt>
              </c:strCache>
            </c:strRef>
          </c:cat>
          <c:val>
            <c:numRef>
              <c:f>Sheet1!$D$2:$D$12</c:f>
              <c:numCache>
                <c:formatCode>0.0%</c:formatCode>
                <c:ptCount val="11"/>
                <c:pt idx="0">
                  <c:v>1.2121212121212199E-2</c:v>
                </c:pt>
                <c:pt idx="1">
                  <c:v>-1.4226709499770451E-2</c:v>
                </c:pt>
                <c:pt idx="2">
                  <c:v>4.9999999999999822E-2</c:v>
                </c:pt>
                <c:pt idx="3">
                  <c:v>4.0571870170015512E-2</c:v>
                </c:pt>
                <c:pt idx="4">
                  <c:v>8.7766756837992066E-2</c:v>
                </c:pt>
                <c:pt idx="5">
                  <c:v>-3.5906642728905647E-3</c:v>
                </c:pt>
                <c:pt idx="6">
                  <c:v>2.4650780608053147E-3</c:v>
                </c:pt>
                <c:pt idx="7">
                  <c:v>-2.553940995156323E-2</c:v>
                </c:pt>
                <c:pt idx="8">
                  <c:v>-5.3537284894836779E-3</c:v>
                </c:pt>
                <c:pt idx="9">
                  <c:v>-2.4594195769798377E-2</c:v>
                </c:pt>
                <c:pt idx="10">
                  <c:v>-3.1547320981472171E-2</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6022928748634848"/>
          <c:y val="6.7402047823449843E-2"/>
          <c:w val="0.41976155824708328"/>
          <c:h val="7.2812204379542569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899-4A6F-A276-DF804707D178}"/>
                </c:ext>
              </c:extLst>
            </c:dLbl>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6</c:f>
              <c:strCache>
                <c:ptCount val="14"/>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 25-Feb-23</c:v>
                </c:pt>
              </c:strCache>
            </c:strRef>
          </c:cat>
          <c:val>
            <c:numRef>
              <c:f>Sheet1!$B$2:$B$56</c:f>
              <c:numCache>
                <c:formatCode>0.0%</c:formatCode>
                <c:ptCount val="14"/>
                <c:pt idx="0">
                  <c:v>0.18398628912537779</c:v>
                </c:pt>
                <c:pt idx="1">
                  <c:v>0.19766110684231453</c:v>
                </c:pt>
                <c:pt idx="2">
                  <c:v>0.19509353012011121</c:v>
                </c:pt>
                <c:pt idx="3">
                  <c:v>0.19495263639860572</c:v>
                </c:pt>
                <c:pt idx="4">
                  <c:v>0.1909126225396704</c:v>
                </c:pt>
                <c:pt idx="5">
                  <c:v>0.19035253950877601</c:v>
                </c:pt>
                <c:pt idx="6">
                  <c:v>0.18429279919299291</c:v>
                </c:pt>
                <c:pt idx="7">
                  <c:v>0.18421882968671716</c:v>
                </c:pt>
                <c:pt idx="8">
                  <c:v>0.18619673448167712</c:v>
                </c:pt>
                <c:pt idx="9">
                  <c:v>0.19184932380381542</c:v>
                </c:pt>
                <c:pt idx="10">
                  <c:v>0.19320436384127398</c:v>
                </c:pt>
                <c:pt idx="11">
                  <c:v>0.18971894367290115</c:v>
                </c:pt>
                <c:pt idx="12">
                  <c:v>0.19743475453676398</c:v>
                </c:pt>
                <c:pt idx="13">
                  <c:v>0.20669301594981099</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Top 4</c:v>
                </c:pt>
              </c:strCache>
            </c:strRef>
          </c:tx>
          <c:spPr>
            <a:ln w="28575" cap="rnd">
              <a:solidFill>
                <a:schemeClr val="accent2"/>
              </a:solidFill>
              <a:round/>
            </a:ln>
            <a:effectLst/>
          </c:spPr>
          <c:marker>
            <c:symbol val="none"/>
          </c:marker>
          <c:cat>
            <c:strRef>
              <c:f>Sheet1!$A$2:$A$56</c:f>
              <c:strCache>
                <c:ptCount val="14"/>
                <c:pt idx="0">
                  <c:v>26-Feb-22</c:v>
                </c:pt>
                <c:pt idx="1">
                  <c:v>26-Mar-22</c:v>
                </c:pt>
                <c:pt idx="2">
                  <c:v>23-Apr-22</c:v>
                </c:pt>
                <c:pt idx="3">
                  <c:v>21-May-22</c:v>
                </c:pt>
                <c:pt idx="4">
                  <c:v>18-Jun-22</c:v>
                </c:pt>
                <c:pt idx="5">
                  <c:v>16-Jul-22</c:v>
                </c:pt>
                <c:pt idx="6">
                  <c:v>13-Aug-22</c:v>
                </c:pt>
                <c:pt idx="7">
                  <c:v>10-Sep-22</c:v>
                </c:pt>
                <c:pt idx="8">
                  <c:v>08-Oct-22</c:v>
                </c:pt>
                <c:pt idx="9">
                  <c:v>05-Nov-22</c:v>
                </c:pt>
                <c:pt idx="10">
                  <c:v>03-Dec-22</c:v>
                </c:pt>
                <c:pt idx="11">
                  <c:v>31-Dec-22</c:v>
                </c:pt>
                <c:pt idx="12">
                  <c:v>28-Jan-23</c:v>
                </c:pt>
                <c:pt idx="13">
                  <c:v> 25-Feb-23</c:v>
                </c:pt>
              </c:strCache>
            </c:strRef>
          </c:cat>
          <c:val>
            <c:numRef>
              <c:f>Sheet1!$C$2:$C$56</c:f>
              <c:numCache>
                <c:formatCode>0.0%</c:formatCode>
                <c:ptCount val="14"/>
                <c:pt idx="0">
                  <c:v>0.62571425594810282</c:v>
                </c:pt>
                <c:pt idx="1">
                  <c:v>0.6138847761896582</c:v>
                </c:pt>
                <c:pt idx="2">
                  <c:v>0.61478512680299591</c:v>
                </c:pt>
                <c:pt idx="3">
                  <c:v>0.61289210692075169</c:v>
                </c:pt>
                <c:pt idx="4">
                  <c:v>0.61515874315367003</c:v>
                </c:pt>
                <c:pt idx="5">
                  <c:v>0.61413567374329991</c:v>
                </c:pt>
                <c:pt idx="6">
                  <c:v>0.61891662928014113</c:v>
                </c:pt>
                <c:pt idx="7">
                  <c:v>0.61982340086029375</c:v>
                </c:pt>
                <c:pt idx="8">
                  <c:v>0.62067036350125482</c:v>
                </c:pt>
                <c:pt idx="9">
                  <c:v>0.61866311081168168</c:v>
                </c:pt>
                <c:pt idx="10">
                  <c:v>0.62023245361172252</c:v>
                </c:pt>
                <c:pt idx="11">
                  <c:v>0.62425572555862141</c:v>
                </c:pt>
                <c:pt idx="12">
                  <c:v>0.61866598518815619</c:v>
                </c:pt>
                <c:pt idx="13">
                  <c:v>0.61006773038938078</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0602174460895643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dLbl>
              <c:idx val="8"/>
              <c:layout>
                <c:manualLayout>
                  <c:x val="-3.2778292704378285E-2"/>
                  <c:y val="-3.70872185182589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0AA-45AD-A737-1914077A2C62}"/>
                </c:ext>
              </c:extLst>
            </c:dLbl>
            <c:dLbl>
              <c:idx val="10"/>
              <c:layout>
                <c:manualLayout>
                  <c:x val="-2.9394138904843218E-2"/>
                  <c:y val="-3.971636765749558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0AA-45AD-A737-1914077A2C62}"/>
                </c:ext>
              </c:extLst>
            </c:dLbl>
            <c:dLbl>
              <c:idx val="11"/>
              <c:layout>
                <c:manualLayout>
                  <c:x val="-1.8727383931132959E-2"/>
                  <c:y val="-2.66158048490650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0AA-45AD-A737-1914077A2C62}"/>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62</c:f>
              <c:strCache>
                <c:ptCount val="12"/>
                <c:pt idx="0">
                  <c:v>10-Dec-22</c:v>
                </c:pt>
                <c:pt idx="1">
                  <c:v>17-Dec-22</c:v>
                </c:pt>
                <c:pt idx="2">
                  <c:v>24-Dec-22</c:v>
                </c:pt>
                <c:pt idx="3">
                  <c:v> 31-Dec-22</c:v>
                </c:pt>
                <c:pt idx="4">
                  <c:v>07-Jan-23</c:v>
                </c:pt>
                <c:pt idx="5">
                  <c:v>14-Jan-23</c:v>
                </c:pt>
                <c:pt idx="6">
                  <c:v>21-Jan-23</c:v>
                </c:pt>
                <c:pt idx="7">
                  <c:v>28-Jan-23</c:v>
                </c:pt>
                <c:pt idx="8">
                  <c:v>04-Feb-23</c:v>
                </c:pt>
                <c:pt idx="9">
                  <c:v>11-Feb-23</c:v>
                </c:pt>
                <c:pt idx="10">
                  <c:v>18-Feb-23</c:v>
                </c:pt>
                <c:pt idx="11">
                  <c:v> 25-Feb-23</c:v>
                </c:pt>
              </c:strCache>
            </c:strRef>
          </c:cat>
          <c:val>
            <c:numRef>
              <c:f>Sheet1!$B$2:$B$362</c:f>
              <c:numCache>
                <c:formatCode>0.0%</c:formatCode>
                <c:ptCount val="12"/>
                <c:pt idx="0">
                  <c:v>4.6019310304148187E-2</c:v>
                </c:pt>
                <c:pt idx="1">
                  <c:v>2.1310684132621827E-2</c:v>
                </c:pt>
                <c:pt idx="2">
                  <c:v>0.19050478731840892</c:v>
                </c:pt>
                <c:pt idx="3">
                  <c:v>1.5679120438724548E-2</c:v>
                </c:pt>
                <c:pt idx="4">
                  <c:v>-1.8740715121620233E-2</c:v>
                </c:pt>
                <c:pt idx="5">
                  <c:v>5.7694808486689064E-2</c:v>
                </c:pt>
                <c:pt idx="6">
                  <c:v>5.5206870777083639E-2</c:v>
                </c:pt>
                <c:pt idx="7">
                  <c:v>6.1524412888848579E-2</c:v>
                </c:pt>
                <c:pt idx="8" formatCode="0.00%">
                  <c:v>6.3661878544169381E-2</c:v>
                </c:pt>
                <c:pt idx="9" formatCode="0.00%">
                  <c:v>5.4024733004942815E-2</c:v>
                </c:pt>
                <c:pt idx="10" formatCode="0.00%">
                  <c:v>8.2327649887814047E-2</c:v>
                </c:pt>
                <c:pt idx="11" formatCode="0.00%">
                  <c:v>6.2418251858300522E-2</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dLbl>
              <c:idx val="9"/>
              <c:layout>
                <c:manualLayout>
                  <c:x val="-3.2084892504571728E-2"/>
                  <c:y val="3.09830029653345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0AA-45AD-A737-1914077A2C62}"/>
                </c:ext>
              </c:extLst>
            </c:dLbl>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62</c:f>
              <c:strCache>
                <c:ptCount val="12"/>
                <c:pt idx="0">
                  <c:v>10-Dec-22</c:v>
                </c:pt>
                <c:pt idx="1">
                  <c:v>17-Dec-22</c:v>
                </c:pt>
                <c:pt idx="2">
                  <c:v>24-Dec-22</c:v>
                </c:pt>
                <c:pt idx="3">
                  <c:v> 31-Dec-22</c:v>
                </c:pt>
                <c:pt idx="4">
                  <c:v>07-Jan-23</c:v>
                </c:pt>
                <c:pt idx="5">
                  <c:v>14-Jan-23</c:v>
                </c:pt>
                <c:pt idx="6">
                  <c:v>21-Jan-23</c:v>
                </c:pt>
                <c:pt idx="7">
                  <c:v>28-Jan-23</c:v>
                </c:pt>
                <c:pt idx="8">
                  <c:v>04-Feb-23</c:v>
                </c:pt>
                <c:pt idx="9">
                  <c:v>11-Feb-23</c:v>
                </c:pt>
                <c:pt idx="10">
                  <c:v>18-Feb-23</c:v>
                </c:pt>
                <c:pt idx="11">
                  <c:v> 25-Feb-23</c:v>
                </c:pt>
              </c:strCache>
            </c:strRef>
          </c:cat>
          <c:val>
            <c:numRef>
              <c:f>Sheet1!$C$2:$C$362</c:f>
              <c:numCache>
                <c:formatCode>0.0%</c:formatCode>
                <c:ptCount val="12"/>
                <c:pt idx="0">
                  <c:v>-3.8384299875866223E-2</c:v>
                </c:pt>
                <c:pt idx="1">
                  <c:v>-5.5104629691719476E-2</c:v>
                </c:pt>
                <c:pt idx="2">
                  <c:v>9.3534706721019933E-2</c:v>
                </c:pt>
                <c:pt idx="3">
                  <c:v>-8.6121724973011182E-2</c:v>
                </c:pt>
                <c:pt idx="4">
                  <c:v>-0.11900667548643007</c:v>
                </c:pt>
                <c:pt idx="5">
                  <c:v>-5.0070481046418647E-2</c:v>
                </c:pt>
                <c:pt idx="6">
                  <c:v>-5.6401382707389702E-2</c:v>
                </c:pt>
                <c:pt idx="7">
                  <c:v>-4.8591732732114812E-2</c:v>
                </c:pt>
                <c:pt idx="8" formatCode="0.00%">
                  <c:v>-4.3774308869749756E-2</c:v>
                </c:pt>
                <c:pt idx="9" formatCode="0.00%">
                  <c:v>-4.4824023385596545E-2</c:v>
                </c:pt>
                <c:pt idx="10" formatCode="0.00%">
                  <c:v>-3.3048111574571326E-2</c:v>
                </c:pt>
                <c:pt idx="11" formatCode="0.00%">
                  <c:v>-4.072858653034428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0"/>
      </c:catAx>
      <c:valAx>
        <c:axId val="45912448"/>
        <c:scaling>
          <c:orientation val="minMax"/>
          <c:min val="-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8D4-47DF-80F4-CBF792205DC8}"/>
                </c:ext>
              </c:extLst>
            </c:dLbl>
            <c:dLbl>
              <c:idx val="11"/>
              <c:delete val="1"/>
              <c:extLst>
                <c:ext xmlns:c15="http://schemas.microsoft.com/office/drawing/2012/chart" uri="{CE6537A1-D6FC-4f65-9D91-7224C49458BB}"/>
                <c:ext xmlns:c16="http://schemas.microsoft.com/office/drawing/2014/chart" uri="{C3380CC4-5D6E-409C-BE32-E72D297353CC}">
                  <c16:uniqueId val="{00000000-94A7-4407-99CE-979EF552C468}"/>
                </c:ext>
              </c:extLst>
            </c:dLbl>
            <c:dLbl>
              <c:idx val="12"/>
              <c:layout>
                <c:manualLayout>
                  <c:x val="-1.0940633138172798E-2"/>
                  <c:y val="4.12801393773524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8D4-47DF-80F4-CBF792205DC8}"/>
                </c:ext>
              </c:extLst>
            </c:dLbl>
            <c:dLbl>
              <c:idx val="25"/>
              <c:layout>
                <c:manualLayout>
                  <c:x val="-2.4832078510672706E-2"/>
                  <c:y val="-3.5260119051488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8D4-47DF-80F4-CBF792205DC8}"/>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1</c:f>
              <c:strCache>
                <c:ptCount val="26"/>
                <c:pt idx="0">
                  <c:v>27-Feb-21</c:v>
                </c:pt>
                <c:pt idx="1">
                  <c:v>27-Mar-21</c:v>
                </c:pt>
                <c:pt idx="2">
                  <c:v>24-Apr-21</c:v>
                </c:pt>
                <c:pt idx="3">
                  <c:v>22-May-21</c:v>
                </c:pt>
                <c:pt idx="4">
                  <c:v>19-Jun-21</c:v>
                </c:pt>
                <c:pt idx="5">
                  <c:v>14-Aug-21</c:v>
                </c:pt>
                <c:pt idx="6">
                  <c:v>11-Sep-21</c:v>
                </c:pt>
                <c:pt idx="7">
                  <c:v>09-Oct-21</c:v>
                </c:pt>
                <c:pt idx="8">
                  <c:v>06-Nov-21</c:v>
                </c:pt>
                <c:pt idx="9">
                  <c:v>04-Dec-21</c:v>
                </c:pt>
                <c:pt idx="10">
                  <c:v>01-Jan-22</c:v>
                </c:pt>
                <c:pt idx="11">
                  <c:v>29-Jan-22</c:v>
                </c:pt>
                <c:pt idx="12">
                  <c:v>26-Feb-22</c:v>
                </c:pt>
                <c:pt idx="13">
                  <c:v>26-Mar-22</c:v>
                </c:pt>
                <c:pt idx="14">
                  <c:v>23-Apr-22</c:v>
                </c:pt>
                <c:pt idx="15">
                  <c:v>21-May-22</c:v>
                </c:pt>
                <c:pt idx="16">
                  <c:v>18-Jun-22</c:v>
                </c:pt>
                <c:pt idx="17">
                  <c:v>16-Jul-22</c:v>
                </c:pt>
                <c:pt idx="18">
                  <c:v>13-Aug-22</c:v>
                </c:pt>
                <c:pt idx="19">
                  <c:v>10-Sep-22</c:v>
                </c:pt>
                <c:pt idx="20">
                  <c:v>08-Oct-22</c:v>
                </c:pt>
                <c:pt idx="21">
                  <c:v>05-Nov-22</c:v>
                </c:pt>
                <c:pt idx="22">
                  <c:v>03-Dec-22</c:v>
                </c:pt>
                <c:pt idx="23">
                  <c:v>31-Dec-22</c:v>
                </c:pt>
                <c:pt idx="24">
                  <c:v>28-Jan-23</c:v>
                </c:pt>
                <c:pt idx="25">
                  <c:v> 25-Feb-23</c:v>
                </c:pt>
              </c:strCache>
            </c:strRef>
          </c:cat>
          <c:val>
            <c:numRef>
              <c:f>Sheet1!$B$2:$B$191</c:f>
              <c:numCache>
                <c:formatCode>0.0%</c:formatCode>
                <c:ptCount val="26"/>
                <c:pt idx="0">
                  <c:v>0.20118722416828941</c:v>
                </c:pt>
                <c:pt idx="1">
                  <c:v>0.2053994436143802</c:v>
                </c:pt>
                <c:pt idx="2">
                  <c:v>0.21280032670024543</c:v>
                </c:pt>
                <c:pt idx="3">
                  <c:v>0.2062761632880987</c:v>
                </c:pt>
                <c:pt idx="4">
                  <c:v>0.21293411565727677</c:v>
                </c:pt>
                <c:pt idx="5">
                  <c:v>0.19489774099022261</c:v>
                </c:pt>
                <c:pt idx="6">
                  <c:v>0.19834730367111425</c:v>
                </c:pt>
                <c:pt idx="7">
                  <c:v>0.20002887912172451</c:v>
                </c:pt>
                <c:pt idx="8">
                  <c:v>0.20290915750608154</c:v>
                </c:pt>
                <c:pt idx="9">
                  <c:v>0.21759065375713929</c:v>
                </c:pt>
                <c:pt idx="10">
                  <c:v>0.22217196196005476</c:v>
                </c:pt>
                <c:pt idx="11">
                  <c:v>0.19179882462594552</c:v>
                </c:pt>
                <c:pt idx="12">
                  <c:v>0.19850638111247429</c:v>
                </c:pt>
                <c:pt idx="13">
                  <c:v>0.19838613908607436</c:v>
                </c:pt>
                <c:pt idx="14">
                  <c:v>0.21454129333431393</c:v>
                </c:pt>
                <c:pt idx="15">
                  <c:v>0.20394894788297449</c:v>
                </c:pt>
                <c:pt idx="16">
                  <c:v>0.21800075450893103</c:v>
                </c:pt>
                <c:pt idx="17">
                  <c:v>0.20416619569339745</c:v>
                </c:pt>
                <c:pt idx="18">
                  <c:v>0.20301326092012906</c:v>
                </c:pt>
                <c:pt idx="19">
                  <c:v>0.20787918925956672</c:v>
                </c:pt>
                <c:pt idx="20">
                  <c:v>0.20395477142982751</c:v>
                </c:pt>
                <c:pt idx="21">
                  <c:v>0.2076596694847575</c:v>
                </c:pt>
                <c:pt idx="22">
                  <c:v>0.22580515282751254</c:v>
                </c:pt>
                <c:pt idx="23">
                  <c:v>0.22882012414585218</c:v>
                </c:pt>
                <c:pt idx="24">
                  <c:v>0.19333792238120004</c:v>
                </c:pt>
                <c:pt idx="25">
                  <c:v>0.20095802246144789</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1</c:f>
              <c:strCache>
                <c:ptCount val="26"/>
                <c:pt idx="0">
                  <c:v>27-Feb-21</c:v>
                </c:pt>
                <c:pt idx="1">
                  <c:v>27-Mar-21</c:v>
                </c:pt>
                <c:pt idx="2">
                  <c:v>24-Apr-21</c:v>
                </c:pt>
                <c:pt idx="3">
                  <c:v>22-May-21</c:v>
                </c:pt>
                <c:pt idx="4">
                  <c:v>19-Jun-21</c:v>
                </c:pt>
                <c:pt idx="5">
                  <c:v>14-Aug-21</c:v>
                </c:pt>
                <c:pt idx="6">
                  <c:v>11-Sep-21</c:v>
                </c:pt>
                <c:pt idx="7">
                  <c:v>09-Oct-21</c:v>
                </c:pt>
                <c:pt idx="8">
                  <c:v>06-Nov-21</c:v>
                </c:pt>
                <c:pt idx="9">
                  <c:v>04-Dec-21</c:v>
                </c:pt>
                <c:pt idx="10">
                  <c:v>01-Jan-22</c:v>
                </c:pt>
                <c:pt idx="11">
                  <c:v>29-Jan-22</c:v>
                </c:pt>
                <c:pt idx="12">
                  <c:v>26-Feb-22</c:v>
                </c:pt>
                <c:pt idx="13">
                  <c:v>26-Mar-22</c:v>
                </c:pt>
                <c:pt idx="14">
                  <c:v>23-Apr-22</c:v>
                </c:pt>
                <c:pt idx="15">
                  <c:v>21-May-22</c:v>
                </c:pt>
                <c:pt idx="16">
                  <c:v>18-Jun-22</c:v>
                </c:pt>
                <c:pt idx="17">
                  <c:v>16-Jul-22</c:v>
                </c:pt>
                <c:pt idx="18">
                  <c:v>13-Aug-22</c:v>
                </c:pt>
                <c:pt idx="19">
                  <c:v>10-Sep-22</c:v>
                </c:pt>
                <c:pt idx="20">
                  <c:v>08-Oct-22</c:v>
                </c:pt>
                <c:pt idx="21">
                  <c:v>05-Nov-22</c:v>
                </c:pt>
                <c:pt idx="22">
                  <c:v>03-Dec-22</c:v>
                </c:pt>
                <c:pt idx="23">
                  <c:v>31-Dec-22</c:v>
                </c:pt>
                <c:pt idx="24">
                  <c:v>28-Jan-23</c:v>
                </c:pt>
                <c:pt idx="25">
                  <c:v> 25-Feb-23</c:v>
                </c:pt>
              </c:strCache>
            </c:strRef>
          </c:cat>
          <c:val>
            <c:numRef>
              <c:f>Sheet1!$C$2:$C$191</c:f>
              <c:numCache>
                <c:formatCode>0.0%</c:formatCode>
                <c:ptCount val="26"/>
                <c:pt idx="0">
                  <c:v>0.20627717710312071</c:v>
                </c:pt>
                <c:pt idx="1">
                  <c:v>0.20627717710312071</c:v>
                </c:pt>
                <c:pt idx="2">
                  <c:v>0.20627717710312071</c:v>
                </c:pt>
                <c:pt idx="3">
                  <c:v>0.20627717710312071</c:v>
                </c:pt>
                <c:pt idx="4">
                  <c:v>0.20627717710312071</c:v>
                </c:pt>
                <c:pt idx="5">
                  <c:v>0.20627717710312071</c:v>
                </c:pt>
                <c:pt idx="6">
                  <c:v>0.20627717710312071</c:v>
                </c:pt>
                <c:pt idx="7">
                  <c:v>0.20627717710312071</c:v>
                </c:pt>
                <c:pt idx="8">
                  <c:v>0.20627717710312071</c:v>
                </c:pt>
                <c:pt idx="9">
                  <c:v>0.20627717710312071</c:v>
                </c:pt>
                <c:pt idx="10">
                  <c:v>0.20627717710312071</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0893864879488655</c:v>
                </c:pt>
                <c:pt idx="19">
                  <c:v>0.20893864879488655</c:v>
                </c:pt>
                <c:pt idx="20">
                  <c:v>0.20893864879488655</c:v>
                </c:pt>
                <c:pt idx="21">
                  <c:v>0.20893864879488655</c:v>
                </c:pt>
                <c:pt idx="22">
                  <c:v>0.20893864879488655</c:v>
                </c:pt>
                <c:pt idx="23">
                  <c:v>0.20893864879488655</c:v>
                </c:pt>
                <c:pt idx="24">
                  <c:v>0.19727824809509761</c:v>
                </c:pt>
                <c:pt idx="25">
                  <c:v>0.19727824809509761</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8.569704284852131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0</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Insto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8.7037037037037024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8.8019559902200672E-2</c:v>
                </c:pt>
              </c:numCache>
            </c:numRef>
          </c:val>
          <c:extLst>
            <c:ext xmlns:c16="http://schemas.microsoft.com/office/drawing/2014/chart" uri="{C3380CC4-5D6E-409C-BE32-E72D297353CC}">
              <c16:uniqueId val="{00000005-7B4D-4175-A01D-7B21B137A78A}"/>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5000000000000002"/>
          <c:min val="0"/>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31730508438933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0.10207988578474314</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2.4699221514508096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Instore</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c:formatCode>
                <c:ptCount val="1"/>
                <c:pt idx="0">
                  <c:v>0.11612364243943185</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0.14706835114998396</c:v>
                </c:pt>
              </c:numCache>
            </c:numRef>
          </c:val>
          <c:extLst>
            <c:ext xmlns:c16="http://schemas.microsoft.com/office/drawing/2014/chart" uri="{C3380CC4-5D6E-409C-BE32-E72D297353CC}">
              <c16:uniqueId val="{00000005-89A1-4D8A-A761-15E50F52159E}"/>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31730508438933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8.259451927836059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4.8416519733281871E-2</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Insto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1.3126205016452897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0.10460199278519444</c:v>
                </c:pt>
              </c:numCache>
            </c:numRef>
          </c:val>
          <c:extLst>
            <c:ext xmlns:c16="http://schemas.microsoft.com/office/drawing/2014/chart" uri="{C3380CC4-5D6E-409C-BE32-E72D297353CC}">
              <c16:uniqueId val="{00000003-D9CE-453C-AA1A-8B8063793B2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31730508438933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96796219478593"/>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1.1630704984959772E-2</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8.0174187254382412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Insto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5.8322737455684948E-4</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1.5330540051850972E-2</c:v>
                </c:pt>
              </c:numCache>
            </c:numRef>
          </c:val>
          <c:extLst>
            <c:ext xmlns:c16="http://schemas.microsoft.com/office/drawing/2014/chart" uri="{C3380CC4-5D6E-409C-BE32-E72D297353CC}">
              <c16:uniqueId val="{00000005-6C7C-493B-AB19-5939DA86CC58}"/>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0.12000000000000001"/>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317305084389334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84657660487678E-2"/>
          <c:y val="5.2392986294136232E-2"/>
          <c:w val="0.92630684679024644"/>
          <c:h val="0.77565282014530945"/>
        </c:manualLayout>
      </c:layout>
      <c:barChart>
        <c:barDir val="col"/>
        <c:grouping val="percentStacked"/>
        <c:varyColors val="0"/>
        <c:ser>
          <c:idx val="0"/>
          <c:order val="0"/>
          <c:tx>
            <c:strRef>
              <c:f>Sheet1!$B$1</c:f>
              <c:strCache>
                <c:ptCount val="1"/>
                <c:pt idx="0">
                  <c:v>Celebration Food</c:v>
                </c:pt>
              </c:strCache>
            </c:strRef>
          </c:tx>
          <c:spPr>
            <a:solidFill>
              <a:schemeClr val="accent1"/>
            </a:solidFill>
            <a:ln w="19050">
              <a:solidFill>
                <a:schemeClr val="lt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e 15Feb20</c:v>
                </c:pt>
                <c:pt idx="1">
                  <c:v>we 13Feb21</c:v>
                </c:pt>
                <c:pt idx="2">
                  <c:v>we 19Feb22</c:v>
                </c:pt>
                <c:pt idx="3">
                  <c:v>we 18Feb23</c:v>
                </c:pt>
              </c:strCache>
            </c:strRef>
          </c:cat>
          <c:val>
            <c:numRef>
              <c:f>Sheet1!$B$2:$B$5</c:f>
              <c:numCache>
                <c:formatCode>0.0%</c:formatCode>
                <c:ptCount val="4"/>
                <c:pt idx="0">
                  <c:v>0.51540303095332529</c:v>
                </c:pt>
                <c:pt idx="1">
                  <c:v>0.54632386851017567</c:v>
                </c:pt>
                <c:pt idx="2">
                  <c:v>0.56359469669590145</c:v>
                </c:pt>
                <c:pt idx="3">
                  <c:v>0.53818378630560271</c:v>
                </c:pt>
              </c:numCache>
            </c:numRef>
          </c:val>
          <c:extLst>
            <c:ext xmlns:c16="http://schemas.microsoft.com/office/drawing/2014/chart" uri="{C3380CC4-5D6E-409C-BE32-E72D297353CC}">
              <c16:uniqueId val="{00000000-D970-4365-9771-B5B2E7CC64C8}"/>
            </c:ext>
          </c:extLst>
        </c:ser>
        <c:ser>
          <c:idx val="1"/>
          <c:order val="1"/>
          <c:tx>
            <c:strRef>
              <c:f>Sheet1!$C$1</c:f>
              <c:strCache>
                <c:ptCount val="1"/>
                <c:pt idx="0">
                  <c:v>Gifting</c:v>
                </c:pt>
              </c:strCache>
            </c:strRef>
          </c:tx>
          <c:spPr>
            <a:solidFill>
              <a:schemeClr val="accent2"/>
            </a:solidFill>
            <a:ln w="19050">
              <a:solidFill>
                <a:schemeClr val="lt1"/>
              </a:solidFill>
            </a:ln>
            <a:effectLst/>
          </c:spPr>
          <c:invertIfNegative val="0"/>
          <c:cat>
            <c:strRef>
              <c:f>Sheet1!$A$2:$A$5</c:f>
              <c:strCache>
                <c:ptCount val="4"/>
                <c:pt idx="0">
                  <c:v>we 15Feb20</c:v>
                </c:pt>
                <c:pt idx="1">
                  <c:v>we 13Feb21</c:v>
                </c:pt>
                <c:pt idx="2">
                  <c:v>we 19Feb22</c:v>
                </c:pt>
                <c:pt idx="3">
                  <c:v>we 18Feb23</c:v>
                </c:pt>
              </c:strCache>
            </c:strRef>
          </c:cat>
          <c:val>
            <c:numRef>
              <c:f>Sheet1!$C$2:$C$5</c:f>
              <c:numCache>
                <c:formatCode>0.0%</c:formatCode>
                <c:ptCount val="4"/>
                <c:pt idx="0">
                  <c:v>0.48459696904667471</c:v>
                </c:pt>
                <c:pt idx="1">
                  <c:v>0.45367613148982439</c:v>
                </c:pt>
                <c:pt idx="2">
                  <c:v>0.43640530330409855</c:v>
                </c:pt>
                <c:pt idx="3">
                  <c:v>0.46181621369439724</c:v>
                </c:pt>
              </c:numCache>
            </c:numRef>
          </c:val>
          <c:extLst>
            <c:ext xmlns:c16="http://schemas.microsoft.com/office/drawing/2014/chart" uri="{C3380CC4-5D6E-409C-BE32-E72D297353CC}">
              <c16:uniqueId val="{00000001-D970-4365-9771-B5B2E7CC64C8}"/>
            </c:ext>
          </c:extLst>
        </c:ser>
        <c:dLbls>
          <c:showLegendKey val="0"/>
          <c:showVal val="0"/>
          <c:showCatName val="0"/>
          <c:showSerName val="0"/>
          <c:showPercent val="0"/>
          <c:showBubbleSize val="0"/>
        </c:dLbls>
        <c:gapWidth val="65"/>
        <c:overlap val="10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454411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567195443178545"/>
          <c:y val="4.3785036856530124E-2"/>
          <c:w val="0.43537618223334906"/>
          <c:h val="0.64943739757141816"/>
        </c:manualLayout>
      </c:layout>
      <c:doughnutChart>
        <c:varyColors val="1"/>
        <c:ser>
          <c:idx val="0"/>
          <c:order val="0"/>
          <c:tx>
            <c:strRef>
              <c:f>Sheet1!$B$1</c:f>
              <c:strCache>
                <c:ptCount val="1"/>
                <c:pt idx="0">
                  <c:v>Sales</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C53-4E73-BEF9-3DDBF9F67AD2}"/>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C53-4E73-BEF9-3DDBF9F67AD2}"/>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2C53-4E73-BEF9-3DDBF9F67AD2}"/>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2C53-4E73-BEF9-3DDBF9F67AD2}"/>
              </c:ext>
            </c:extLst>
          </c:dPt>
          <c:dPt>
            <c:idx val="4"/>
            <c:bubble3D val="0"/>
            <c:spPr>
              <a:solidFill>
                <a:schemeClr val="accent5"/>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2C53-4E73-BEF9-3DDBF9F67AD2}"/>
              </c:ext>
            </c:extLst>
          </c:dPt>
          <c:dPt>
            <c:idx val="5"/>
            <c:bubble3D val="0"/>
            <c:spPr>
              <a:solidFill>
                <a:schemeClr val="accent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B-2C53-4E73-BEF9-3DDBF9F67AD2}"/>
              </c:ext>
            </c:extLst>
          </c:dPt>
          <c:dPt>
            <c:idx val="6"/>
            <c:bubble3D val="0"/>
            <c:spPr>
              <a:solidFill>
                <a:schemeClr val="accent1">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D-2C53-4E73-BEF9-3DDBF9F67AD2}"/>
              </c:ext>
            </c:extLst>
          </c:dPt>
          <c:dPt>
            <c:idx val="7"/>
            <c:bubble3D val="0"/>
            <c:spPr>
              <a:solidFill>
                <a:schemeClr val="accent2">
                  <a:lumMod val="6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F-2C53-4E73-BEF9-3DDBF9F67AD2}"/>
              </c:ext>
            </c:extLst>
          </c:dPt>
          <c:dPt>
            <c:idx val="8"/>
            <c:bubble3D val="0"/>
            <c:spPr>
              <a:solidFill>
                <a:schemeClr val="accent3">
                  <a:lumMod val="60000"/>
                </a:schemeClr>
              </a:solidFill>
              <a:ln>
                <a:noFill/>
              </a:ln>
              <a:effectLst/>
              <a:scene3d>
                <a:camera prst="orthographicFront"/>
                <a:lightRig rig="brightRoom" dir="t"/>
              </a:scene3d>
              <a:sp3d prstMaterial="flat">
                <a:bevelT w="50800" h="101600" prst="angle"/>
                <a:contourClr>
                  <a:srgbClr val="000000"/>
                </a:contourClr>
              </a:sp3d>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 Fresh Ready Meals </c:v>
                </c:pt>
                <c:pt idx="1">
                  <c:v> Morning Goods &amp; Speciality Breads </c:v>
                </c:pt>
                <c:pt idx="2">
                  <c:v> Cut Mixed Flowers </c:v>
                </c:pt>
                <c:pt idx="3">
                  <c:v> Beauty Skincare </c:v>
                </c:pt>
                <c:pt idx="4">
                  <c:v> Fresh Desserts </c:v>
                </c:pt>
                <c:pt idx="5">
                  <c:v> Cut Roses </c:v>
                </c:pt>
                <c:pt idx="6">
                  <c:v> Greetings Cards </c:v>
                </c:pt>
                <c:pt idx="7">
                  <c:v> Cosmetics </c:v>
                </c:pt>
                <c:pt idx="8">
                  <c:v>Other categories</c:v>
                </c:pt>
              </c:strCache>
            </c:strRef>
          </c:cat>
          <c:val>
            <c:numRef>
              <c:f>Sheet1!$B$2:$B$10</c:f>
              <c:numCache>
                <c:formatCode>0%</c:formatCode>
                <c:ptCount val="9"/>
                <c:pt idx="0">
                  <c:v>0.19737216919213765</c:v>
                </c:pt>
                <c:pt idx="1">
                  <c:v>0.14248177769037212</c:v>
                </c:pt>
                <c:pt idx="2">
                  <c:v>8.6786107266668813E-2</c:v>
                </c:pt>
                <c:pt idx="3">
                  <c:v>6.9313588581775123E-2</c:v>
                </c:pt>
                <c:pt idx="4">
                  <c:v>6.8713096546482583E-2</c:v>
                </c:pt>
                <c:pt idx="5">
                  <c:v>6.7296311212397125E-2</c:v>
                </c:pt>
                <c:pt idx="6">
                  <c:v>6.6177848693732916E-2</c:v>
                </c:pt>
                <c:pt idx="7">
                  <c:v>6.5748841591043342E-2</c:v>
                </c:pt>
                <c:pt idx="8">
                  <c:v>0.23611025922539033</c:v>
                </c:pt>
              </c:numCache>
            </c:numRef>
          </c:val>
          <c:extLst>
            <c:ext xmlns:c16="http://schemas.microsoft.com/office/drawing/2014/chart" uri="{C3380CC4-5D6E-409C-BE32-E72D297353CC}">
              <c16:uniqueId val="{00000000-190C-432F-AD90-EEE61AAE7073}"/>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ayout>
        <c:manualLayout>
          <c:xMode val="edge"/>
          <c:yMode val="edge"/>
          <c:x val="0.13982057885912255"/>
          <c:y val="0.8033023935104513"/>
          <c:w val="0.82340023910119398"/>
          <c:h val="0.193407263013576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31250000000001"/>
          <c:y val="0.17433494252368709"/>
          <c:w val="0.72812500000000002"/>
          <c:h val="0.45893722570514112"/>
        </c:manualLayout>
      </c:layout>
      <c:barChart>
        <c:barDir val="col"/>
        <c:grouping val="clustered"/>
        <c:varyColors val="0"/>
        <c:ser>
          <c:idx val="0"/>
          <c:order val="0"/>
          <c:tx>
            <c:strRef>
              <c:f>Sheet1!$B$1</c:f>
              <c:strCache>
                <c:ptCount val="1"/>
                <c:pt idx="0">
                  <c:v>%Growth</c:v>
                </c:pt>
              </c:strCache>
            </c:strRef>
          </c:tx>
          <c:spPr>
            <a:solidFill>
              <a:schemeClr val="accent1"/>
            </a:solidFill>
            <a:ln w="19050">
              <a:solidFill>
                <a:schemeClr val="lt1"/>
              </a:solidFill>
            </a:ln>
            <a:effectLst/>
          </c:spPr>
          <c:invertIfNegative val="0"/>
          <c:dPt>
            <c:idx val="0"/>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1-5422-4630-BF3C-D456A73A6568}"/>
              </c:ext>
            </c:extLst>
          </c:dPt>
          <c:dPt>
            <c:idx val="1"/>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2-5422-4630-BF3C-D456A73A6568}"/>
              </c:ext>
            </c:extLst>
          </c:dPt>
          <c:dPt>
            <c:idx val="2"/>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3-5422-4630-BF3C-D456A73A6568}"/>
              </c:ext>
            </c:extLst>
          </c:dPt>
          <c:dPt>
            <c:idx val="3"/>
            <c:invertIfNegative val="0"/>
            <c:bubble3D val="0"/>
            <c:spPr>
              <a:solidFill>
                <a:schemeClr val="accent2"/>
              </a:solidFill>
              <a:ln w="19050">
                <a:solidFill>
                  <a:schemeClr val="lt1"/>
                </a:solidFill>
              </a:ln>
              <a:effectLst/>
            </c:spPr>
            <c:extLst>
              <c:ext xmlns:c16="http://schemas.microsoft.com/office/drawing/2014/chart" uri="{C3380CC4-5D6E-409C-BE32-E72D297353CC}">
                <c16:uniqueId val="{00000004-5422-4630-BF3C-D456A73A6568}"/>
              </c:ext>
            </c:extLst>
          </c:dPt>
          <c:dPt>
            <c:idx val="4"/>
            <c:invertIfNegative val="0"/>
            <c:bubble3D val="0"/>
            <c:spPr>
              <a:solidFill>
                <a:schemeClr val="accent1"/>
              </a:solidFill>
              <a:ln w="19050">
                <a:solidFill>
                  <a:schemeClr val="lt1"/>
                </a:solidFill>
              </a:ln>
              <a:effectLst/>
            </c:spPr>
            <c:extLst>
              <c:ext xmlns:c16="http://schemas.microsoft.com/office/drawing/2014/chart" uri="{C3380CC4-5D6E-409C-BE32-E72D297353CC}">
                <c16:uniqueId val="{00000000-5422-4630-BF3C-D456A73A6568}"/>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 Greetings Cards </c:v>
                </c:pt>
                <c:pt idx="1">
                  <c:v> Plants in Soil </c:v>
                </c:pt>
                <c:pt idx="2">
                  <c:v> Fragrances </c:v>
                </c:pt>
                <c:pt idx="3">
                  <c:v> Cosmetics </c:v>
                </c:pt>
                <c:pt idx="4">
                  <c:v> Ambient Cup Cakes </c:v>
                </c:pt>
                <c:pt idx="5">
                  <c:v>Fillets/Medallions/Steaks</c:v>
                </c:pt>
              </c:strCache>
            </c:strRef>
          </c:cat>
          <c:val>
            <c:numRef>
              <c:f>Sheet1!$B$2:$B$7</c:f>
              <c:numCache>
                <c:formatCode>0.0%</c:formatCode>
                <c:ptCount val="6"/>
                <c:pt idx="0">
                  <c:v>0.37800702796026342</c:v>
                </c:pt>
                <c:pt idx="1">
                  <c:v>0.36696692432051203</c:v>
                </c:pt>
                <c:pt idx="2">
                  <c:v>0.3069216998506703</c:v>
                </c:pt>
                <c:pt idx="3">
                  <c:v>0.27780397640698173</c:v>
                </c:pt>
                <c:pt idx="4">
                  <c:v>0.27279502235737785</c:v>
                </c:pt>
                <c:pt idx="5">
                  <c:v>0.24994074677588274</c:v>
                </c:pt>
              </c:numCache>
            </c:numRef>
          </c:val>
          <c:extLst>
            <c:ext xmlns:c16="http://schemas.microsoft.com/office/drawing/2014/chart" uri="{C3380CC4-5D6E-409C-BE32-E72D297353CC}">
              <c16:uniqueId val="{00000000-D970-4365-9771-B5B2E7CC64C8}"/>
            </c:ext>
          </c:extLst>
        </c:ser>
        <c:dLbls>
          <c:showLegendKey val="0"/>
          <c:showVal val="0"/>
          <c:showCatName val="0"/>
          <c:showSerName val="0"/>
          <c:showPercent val="0"/>
          <c:showBubbleSize val="0"/>
        </c:dLbls>
        <c:gapWidth val="150"/>
        <c:axId val="454411472"/>
        <c:axId val="454408232"/>
      </c:barChart>
      <c:catAx>
        <c:axId val="4544114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54408232"/>
        <c:crosses val="autoZero"/>
        <c:auto val="1"/>
        <c:lblAlgn val="ctr"/>
        <c:lblOffset val="100"/>
        <c:noMultiLvlLbl val="0"/>
      </c:catAx>
      <c:valAx>
        <c:axId val="454408232"/>
        <c:scaling>
          <c:orientation val="minMax"/>
        </c:scaling>
        <c:delete val="1"/>
        <c:axPos val="l"/>
        <c:numFmt formatCode="0.0%" sourceLinked="1"/>
        <c:majorTickMark val="out"/>
        <c:minorTickMark val="none"/>
        <c:tickLblPos val="nextTo"/>
        <c:crossAx val="45441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Q$1</c:f>
              <c:numCache>
                <c:formatCode>mmm\-yy</c:formatCode>
                <c:ptCount val="13"/>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numCache>
            </c:numRef>
          </c:cat>
          <c:val>
            <c:numRef>
              <c:f>Sheet1!$B$2:$EQ$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Q$1</c:f>
              <c:numCache>
                <c:formatCode>mmm\-yy</c:formatCode>
                <c:ptCount val="13"/>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numCache>
            </c:numRef>
          </c:cat>
          <c:val>
            <c:numRef>
              <c:f>Sheet1!$B$3:$EQ$3</c:f>
              <c:numCache>
                <c:formatCode>0.0%</c:formatCode>
                <c:ptCount val="13"/>
                <c:pt idx="0">
                  <c:v>2.7E-2</c:v>
                </c:pt>
                <c:pt idx="1">
                  <c:v>3.3000000000000002E-2</c:v>
                </c:pt>
                <c:pt idx="2">
                  <c:v>3.5000000000000003E-2</c:v>
                </c:pt>
                <c:pt idx="3">
                  <c:v>4.2999999999999997E-2</c:v>
                </c:pt>
                <c:pt idx="4">
                  <c:v>5.6000000000000001E-2</c:v>
                </c:pt>
                <c:pt idx="5">
                  <c:v>7.0000000000000007E-2</c:v>
                </c:pt>
                <c:pt idx="6">
                  <c:v>9.2999999999999999E-2</c:v>
                </c:pt>
                <c:pt idx="7">
                  <c:v>0.106</c:v>
                </c:pt>
                <c:pt idx="8" formatCode="0.00%">
                  <c:v>0.11600000000000001</c:v>
                </c:pt>
                <c:pt idx="9" formatCode="0.00%">
                  <c:v>0.124</c:v>
                </c:pt>
                <c:pt idx="10" formatCode="0.00%">
                  <c:v>0.13300000000000001</c:v>
                </c:pt>
                <c:pt idx="11" formatCode="0.00%">
                  <c:v>0.13800000000000001</c:v>
                </c:pt>
                <c:pt idx="12" formatCode="0.00%">
                  <c:v>0.14499999999999999</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Q$1</c:f>
              <c:numCache>
                <c:formatCode>mmm\-yy</c:formatCode>
                <c:ptCount val="13"/>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numCache>
            </c:numRef>
          </c:cat>
          <c:val>
            <c:numRef>
              <c:f>Sheet1!$B$4:$EQ$4</c:f>
              <c:numCache>
                <c:formatCode>0.0%</c:formatCode>
                <c:ptCount val="13"/>
                <c:pt idx="0">
                  <c:v>3.3000000000000002E-2</c:v>
                </c:pt>
                <c:pt idx="1">
                  <c:v>3.5000000000000003E-2</c:v>
                </c:pt>
                <c:pt idx="2">
                  <c:v>3.4000000000000002E-2</c:v>
                </c:pt>
                <c:pt idx="3">
                  <c:v>4.4999999999999998E-2</c:v>
                </c:pt>
                <c:pt idx="4">
                  <c:v>6.2E-2</c:v>
                </c:pt>
                <c:pt idx="5">
                  <c:v>0.08</c:v>
                </c:pt>
                <c:pt idx="6">
                  <c:v>0.105</c:v>
                </c:pt>
                <c:pt idx="7">
                  <c:v>0.121</c:v>
                </c:pt>
                <c:pt idx="8" formatCode="0.00%">
                  <c:v>0.13300000000000001</c:v>
                </c:pt>
                <c:pt idx="9" formatCode="0.00%">
                  <c:v>0.14299999999999999</c:v>
                </c:pt>
                <c:pt idx="10" formatCode="0%">
                  <c:v>0.15</c:v>
                </c:pt>
                <c:pt idx="11" formatCode="0.00%">
                  <c:v>0.157</c:v>
                </c:pt>
                <c:pt idx="12" formatCode="0.00%">
                  <c:v>0.16300000000000001</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Q$1</c:f>
              <c:numCache>
                <c:formatCode>mmm\-yy</c:formatCode>
                <c:ptCount val="13"/>
                <c:pt idx="0">
                  <c:v>44593</c:v>
                </c:pt>
                <c:pt idx="1">
                  <c:v>44621</c:v>
                </c:pt>
                <c:pt idx="2">
                  <c:v>44652</c:v>
                </c:pt>
                <c:pt idx="3">
                  <c:v>44682</c:v>
                </c:pt>
                <c:pt idx="4">
                  <c:v>44713</c:v>
                </c:pt>
                <c:pt idx="5">
                  <c:v>44743</c:v>
                </c:pt>
                <c:pt idx="6">
                  <c:v>44774</c:v>
                </c:pt>
                <c:pt idx="7">
                  <c:v>44805</c:v>
                </c:pt>
                <c:pt idx="8">
                  <c:v>44835</c:v>
                </c:pt>
                <c:pt idx="9">
                  <c:v>44866</c:v>
                </c:pt>
                <c:pt idx="10">
                  <c:v>44896</c:v>
                </c:pt>
                <c:pt idx="11">
                  <c:v>44927</c:v>
                </c:pt>
                <c:pt idx="12">
                  <c:v>44958</c:v>
                </c:pt>
              </c:numCache>
            </c:numRef>
          </c:cat>
          <c:val>
            <c:numRef>
              <c:f>Sheet1!$B$5:$EQ$5</c:f>
              <c:numCache>
                <c:formatCode>0.0%</c:formatCode>
                <c:ptCount val="13"/>
                <c:pt idx="0">
                  <c:v>0.02</c:v>
                </c:pt>
                <c:pt idx="1">
                  <c:v>0.03</c:v>
                </c:pt>
                <c:pt idx="2">
                  <c:v>3.5000000000000003E-2</c:v>
                </c:pt>
                <c:pt idx="3">
                  <c:v>0.04</c:v>
                </c:pt>
                <c:pt idx="4">
                  <c:v>4.8000000000000001E-2</c:v>
                </c:pt>
                <c:pt idx="5">
                  <c:v>5.7000000000000002E-2</c:v>
                </c:pt>
                <c:pt idx="6">
                  <c:v>7.8E-2</c:v>
                </c:pt>
                <c:pt idx="7">
                  <c:v>8.5999999999999993E-2</c:v>
                </c:pt>
                <c:pt idx="8" formatCode="0.00%">
                  <c:v>9.4E-2</c:v>
                </c:pt>
                <c:pt idx="9" formatCode="0%">
                  <c:v>0.1</c:v>
                </c:pt>
                <c:pt idx="10" formatCode="0%">
                  <c:v>0.11</c:v>
                </c:pt>
                <c:pt idx="11" formatCode="0.00%">
                  <c:v>0.113</c:v>
                </c:pt>
                <c:pt idx="12" formatCode="0.00%">
                  <c:v>0.122</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6.5640113319135773E-2</c:v>
                </c:pt>
                <c:pt idx="1">
                  <c:v>8.0859070426928081E-2</c:v>
                </c:pt>
                <c:pt idx="2">
                  <c:v>7.7145438365491925E-2</c:v>
                </c:pt>
                <c:pt idx="3">
                  <c:v>0.10145160936777042</c:v>
                </c:pt>
                <c:pt idx="4">
                  <c:v>-3.7517492154232168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2 years ago</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Ref>
          </c:val>
          <c:extLst>
            <c:ext xmlns:c16="http://schemas.microsoft.com/office/drawing/2014/chart" uri="{C3380CC4-5D6E-409C-BE32-E72D297353CC}">
              <c16:uniqueId val="{00000001-62B6-4199-88E3-AC78C796F68A}"/>
            </c:ext>
          </c:extLst>
        </c:ser>
        <c:ser>
          <c:idx val="2"/>
          <c:order val="2"/>
          <c:tx>
            <c:strRef>
              <c:f>Sheet1!$D$1</c:f>
              <c:strCache>
                <c:ptCount val="1"/>
                <c:pt idx="0">
                  <c:v>vs last month</c:v>
                </c:pt>
              </c:strCache>
            </c:strRef>
          </c:tx>
          <c:spPr>
            <a:solidFill>
              <a:schemeClr val="accent3"/>
            </a:solidFill>
            <a:ln>
              <a:noFill/>
            </a:ln>
            <a:effectLst/>
          </c:spPr>
          <c:invertIfNegative val="0"/>
          <c:dLbls>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62B6-4199-88E3-AC78C796F68A}"/>
                </c:ext>
              </c:extLst>
            </c:dLbl>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D$2:$D$6</c:f>
              <c:numCache>
                <c:formatCode>0.0%</c:formatCode>
                <c:ptCount val="5"/>
                <c:pt idx="0">
                  <c:v>6.6754975119259763E-2</c:v>
                </c:pt>
                <c:pt idx="1">
                  <c:v>7.2794597787835258E-2</c:v>
                </c:pt>
                <c:pt idx="2">
                  <c:v>8.6666917917953334E-2</c:v>
                </c:pt>
                <c:pt idx="3">
                  <c:v>3.3376105211564422E-3</c:v>
                </c:pt>
                <c:pt idx="4">
                  <c:v>2.2919349612559481E-2</c:v>
                </c:pt>
              </c:numCache>
            </c:numRef>
          </c:val>
          <c:extLst>
            <c:ext xmlns:c16="http://schemas.microsoft.com/office/drawing/2014/chart" uri="{C3380CC4-5D6E-409C-BE32-E72D297353CC}">
              <c16:uniqueId val="{00000003-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1954159651"/>
          <c:y val="0.12008796441654933"/>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Bakery</c:v>
                </c:pt>
                <c:pt idx="3">
                  <c:v>Soft Drinks</c:v>
                </c:pt>
                <c:pt idx="4">
                  <c:v>Produce </c:v>
                </c:pt>
                <c:pt idx="5">
                  <c:v>Tobacco</c:v>
                </c:pt>
                <c:pt idx="6">
                  <c:v>Convenience</c:v>
                </c:pt>
                <c:pt idx="7">
                  <c:v>Dairy</c:v>
                </c:pt>
                <c:pt idx="8">
                  <c:v>HBA~</c:v>
                </c:pt>
                <c:pt idx="9">
                  <c:v>Pet</c:v>
                </c:pt>
                <c:pt idx="10">
                  <c:v>Packaged Grocery</c:v>
                </c:pt>
                <c:pt idx="11">
                  <c:v>Frozen</c:v>
                </c:pt>
                <c:pt idx="12">
                  <c:v>Meat, Fish &amp; Poultry</c:v>
                </c:pt>
                <c:pt idx="13">
                  <c:v>Non Food#</c:v>
                </c:pt>
                <c:pt idx="14">
                  <c:v>Household</c:v>
                </c:pt>
              </c:strCache>
            </c:strRef>
          </c:cat>
          <c:val>
            <c:numRef>
              <c:f>Sheet1!$B$2:$B$16</c:f>
              <c:numCache>
                <c:formatCode>0.0%</c:formatCode>
                <c:ptCount val="15"/>
                <c:pt idx="0">
                  <c:v>0.11586851940858334</c:v>
                </c:pt>
                <c:pt idx="1">
                  <c:v>-2.1552409048240184E-2</c:v>
                </c:pt>
                <c:pt idx="2">
                  <c:v>0.14746768887783146</c:v>
                </c:pt>
                <c:pt idx="3">
                  <c:v>0.11549369551912769</c:v>
                </c:pt>
                <c:pt idx="4">
                  <c:v>1.0778882347789898E-2</c:v>
                </c:pt>
                <c:pt idx="5">
                  <c:v>-5.8223457843032511E-2</c:v>
                </c:pt>
                <c:pt idx="6">
                  <c:v>7.5204579526594983E-2</c:v>
                </c:pt>
                <c:pt idx="7">
                  <c:v>0.15230584513424783</c:v>
                </c:pt>
                <c:pt idx="8">
                  <c:v>0.10801610726464728</c:v>
                </c:pt>
                <c:pt idx="9">
                  <c:v>0.13296418748179728</c:v>
                </c:pt>
                <c:pt idx="10">
                  <c:v>0.11295662900840053</c:v>
                </c:pt>
                <c:pt idx="11">
                  <c:v>0.11046228099510769</c:v>
                </c:pt>
                <c:pt idx="12">
                  <c:v>4.862088068379089E-2</c:v>
                </c:pt>
                <c:pt idx="13">
                  <c:v>-2.1375305988294735E-2</c:v>
                </c:pt>
                <c:pt idx="14">
                  <c:v>7.7783316638191602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Impulse*</c:v>
                </c:pt>
                <c:pt idx="1">
                  <c:v>BWS</c:v>
                </c:pt>
                <c:pt idx="2">
                  <c:v>Bakery</c:v>
                </c:pt>
                <c:pt idx="3">
                  <c:v>Soft Drinks</c:v>
                </c:pt>
                <c:pt idx="4">
                  <c:v>Produce </c:v>
                </c:pt>
                <c:pt idx="5">
                  <c:v>Tobacco</c:v>
                </c:pt>
                <c:pt idx="6">
                  <c:v>Convenience</c:v>
                </c:pt>
                <c:pt idx="7">
                  <c:v>Dairy</c:v>
                </c:pt>
                <c:pt idx="8">
                  <c:v>HBA~</c:v>
                </c:pt>
                <c:pt idx="9">
                  <c:v>Pet</c:v>
                </c:pt>
                <c:pt idx="10">
                  <c:v>Packaged Grocery</c:v>
                </c:pt>
                <c:pt idx="11">
                  <c:v>Frozen</c:v>
                </c:pt>
                <c:pt idx="12">
                  <c:v>Meat, Fish &amp; Poultry</c:v>
                </c:pt>
                <c:pt idx="13">
                  <c:v>Non Food#</c:v>
                </c:pt>
                <c:pt idx="14">
                  <c:v>Household</c:v>
                </c:pt>
              </c:strCache>
            </c:strRef>
          </c:cat>
          <c:val>
            <c:numRef>
              <c:f>Sheet1!$C$2:$C$16</c:f>
              <c:numCache>
                <c:formatCode>0.0%</c:formatCode>
                <c:ptCount val="15"/>
                <c:pt idx="0">
                  <c:v>0.26862991695220395</c:v>
                </c:pt>
                <c:pt idx="1">
                  <c:v>0.25685169179793443</c:v>
                </c:pt>
                <c:pt idx="2">
                  <c:v>0.10030383056842851</c:v>
                </c:pt>
                <c:pt idx="3">
                  <c:v>9.3847978781645303E-2</c:v>
                </c:pt>
                <c:pt idx="4">
                  <c:v>8.3523845904667438E-2</c:v>
                </c:pt>
                <c:pt idx="5">
                  <c:v>5.0404959447139408E-2</c:v>
                </c:pt>
                <c:pt idx="6">
                  <c:v>4.7832006527943616E-2</c:v>
                </c:pt>
                <c:pt idx="7">
                  <c:v>4.251340775283996E-2</c:v>
                </c:pt>
                <c:pt idx="8">
                  <c:v>4.0871637374821468E-2</c:v>
                </c:pt>
                <c:pt idx="9">
                  <c:v>4.0313932956548504E-2</c:v>
                </c:pt>
                <c:pt idx="10">
                  <c:v>3.6833821666386157E-2</c:v>
                </c:pt>
                <c:pt idx="11">
                  <c:v>1.6242750047841259E-2</c:v>
                </c:pt>
                <c:pt idx="12">
                  <c:v>1.0410748925764102E-2</c:v>
                </c:pt>
                <c:pt idx="13">
                  <c:v>3.2248275825965678E-3</c:v>
                </c:pt>
                <c:pt idx="14">
                  <c:v>-6.8169183546149426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2"/>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chemeClr val="bg1">
                  <a:lumMod val="50000"/>
                </a:schemeClr>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resh Noodles</c:v>
                </c:pt>
                <c:pt idx="1">
                  <c:v>Sweet Spreads</c:v>
                </c:pt>
                <c:pt idx="2">
                  <c:v>Childrens Medicine</c:v>
                </c:pt>
                <c:pt idx="3">
                  <c:v>Throat Care</c:v>
                </c:pt>
                <c:pt idx="4">
                  <c:v>Cosmetics</c:v>
                </c:pt>
                <c:pt idx="5">
                  <c:v>Plasticware</c:v>
                </c:pt>
                <c:pt idx="6">
                  <c:v>Sports &amp; Energy Drinks</c:v>
                </c:pt>
                <c:pt idx="7">
                  <c:v>Frozen Bakery Products</c:v>
                </c:pt>
                <c:pt idx="8">
                  <c:v>Snacking Nuts</c:v>
                </c:pt>
                <c:pt idx="9">
                  <c:v>Suncare</c:v>
                </c:pt>
                <c:pt idx="10">
                  <c:v>Anti Smoking</c:v>
                </c:pt>
                <c:pt idx="11">
                  <c:v>Ambient Fruit Juice</c:v>
                </c:pt>
                <c:pt idx="12">
                  <c:v>Cough  Cold &amp; Flu</c:v>
                </c:pt>
                <c:pt idx="13">
                  <c:v>Books</c:v>
                </c:pt>
                <c:pt idx="14">
                  <c:v>Reusable Shopping Bags</c:v>
                </c:pt>
              </c:strCache>
            </c:strRef>
          </c:cat>
          <c:val>
            <c:numRef>
              <c:f>Sheet1!$B$2:$B$16</c:f>
              <c:numCache>
                <c:formatCode>0%</c:formatCode>
                <c:ptCount val="15"/>
                <c:pt idx="0">
                  <c:v>0.10769711729172893</c:v>
                </c:pt>
                <c:pt idx="1">
                  <c:v>0.11725145844306128</c:v>
                </c:pt>
                <c:pt idx="2">
                  <c:v>0.13194543522460855</c:v>
                </c:pt>
                <c:pt idx="3">
                  <c:v>0.13292194984787509</c:v>
                </c:pt>
                <c:pt idx="4">
                  <c:v>0.13585086104533972</c:v>
                </c:pt>
                <c:pt idx="5">
                  <c:v>0.16733482018291879</c:v>
                </c:pt>
                <c:pt idx="6">
                  <c:v>0.16792473178277922</c:v>
                </c:pt>
                <c:pt idx="7">
                  <c:v>0.16923009649324294</c:v>
                </c:pt>
                <c:pt idx="8">
                  <c:v>0.17310147077708482</c:v>
                </c:pt>
                <c:pt idx="9">
                  <c:v>0.17516593346900544</c:v>
                </c:pt>
                <c:pt idx="10">
                  <c:v>0.23707734196283603</c:v>
                </c:pt>
                <c:pt idx="11">
                  <c:v>0.31365992375677831</c:v>
                </c:pt>
                <c:pt idx="12">
                  <c:v>0.33533782379601562</c:v>
                </c:pt>
                <c:pt idx="13">
                  <c:v>0.33659070687125903</c:v>
                </c:pt>
                <c:pt idx="14">
                  <c:v>0.79433792026703065</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inMax"/>
        </c:scaling>
        <c:delete val="0"/>
        <c:axPos val="l"/>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b"/>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433403258695345E-2"/>
          <c:y val="0.2344232298286342"/>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Health &amp; Beauty OL</c:v>
                </c:pt>
                <c:pt idx="1">
                  <c:v>Confectionery OL</c:v>
                </c:pt>
                <c:pt idx="2">
                  <c:v>Dry Grocery OL</c:v>
                </c:pt>
                <c:pt idx="3">
                  <c:v>Frozen OL</c:v>
                </c:pt>
                <c:pt idx="4">
                  <c:v>Household OL</c:v>
                </c:pt>
                <c:pt idx="5">
                  <c:v>Bakery OL</c:v>
                </c:pt>
                <c:pt idx="6">
                  <c:v>Soft Drinks OL</c:v>
                </c:pt>
                <c:pt idx="7">
                  <c:v>FMCG OL</c:v>
                </c:pt>
                <c:pt idx="8">
                  <c:v>Delicatessen OL</c:v>
                </c:pt>
                <c:pt idx="9">
                  <c:v>Dairy OL</c:v>
                </c:pt>
                <c:pt idx="10">
                  <c:v>BWS OL</c:v>
                </c:pt>
                <c:pt idx="11">
                  <c:v>MFP OL</c:v>
                </c:pt>
                <c:pt idx="12">
                  <c:v>Produce OL</c:v>
                </c:pt>
              </c:strCache>
            </c:strRef>
          </c:cat>
          <c:val>
            <c:numRef>
              <c:f>Sheet1!$B$2:$B$14</c:f>
              <c:numCache>
                <c:formatCode>0.0%</c:formatCode>
                <c:ptCount val="13"/>
                <c:pt idx="0">
                  <c:v>0.3139942983551855</c:v>
                </c:pt>
                <c:pt idx="1">
                  <c:v>0.28623536086777557</c:v>
                </c:pt>
                <c:pt idx="2">
                  <c:v>0.54828975274377623</c:v>
                </c:pt>
                <c:pt idx="3">
                  <c:v>0.63103697722465579</c:v>
                </c:pt>
                <c:pt idx="4">
                  <c:v>0.47253487830983243</c:v>
                </c:pt>
                <c:pt idx="5">
                  <c:v>0.66864255787620985</c:v>
                </c:pt>
                <c:pt idx="6">
                  <c:v>0.43364890680855872</c:v>
                </c:pt>
                <c:pt idx="7">
                  <c:v>0.63555987560610949</c:v>
                </c:pt>
                <c:pt idx="8">
                  <c:v>0.80918347330887153</c:v>
                </c:pt>
                <c:pt idx="9">
                  <c:v>0.64559042483220586</c:v>
                </c:pt>
                <c:pt idx="10">
                  <c:v>0.24990111516018018</c:v>
                </c:pt>
                <c:pt idx="11">
                  <c:v>0.95983266289961122</c:v>
                </c:pt>
                <c:pt idx="12">
                  <c:v>0.99911468585947705</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Health &amp; Beauty OL</c:v>
                </c:pt>
                <c:pt idx="1">
                  <c:v>Confectionery OL</c:v>
                </c:pt>
                <c:pt idx="2">
                  <c:v>Dry Grocery OL</c:v>
                </c:pt>
                <c:pt idx="3">
                  <c:v>Frozen OL</c:v>
                </c:pt>
                <c:pt idx="4">
                  <c:v>Household OL</c:v>
                </c:pt>
                <c:pt idx="5">
                  <c:v>Bakery OL</c:v>
                </c:pt>
                <c:pt idx="6">
                  <c:v>Soft Drinks OL</c:v>
                </c:pt>
                <c:pt idx="7">
                  <c:v>FMCG OL</c:v>
                </c:pt>
                <c:pt idx="8">
                  <c:v>Delicatessen OL</c:v>
                </c:pt>
                <c:pt idx="9">
                  <c:v>Dairy OL</c:v>
                </c:pt>
                <c:pt idx="10">
                  <c:v>BWS OL</c:v>
                </c:pt>
                <c:pt idx="11">
                  <c:v>MFP OL</c:v>
                </c:pt>
                <c:pt idx="12">
                  <c:v>Produce OL</c:v>
                </c:pt>
              </c:strCache>
            </c:strRef>
          </c:cat>
          <c:val>
            <c:numRef>
              <c:f>Sheet1!$C$2:$C$14</c:f>
              <c:numCache>
                <c:formatCode>0.0%</c:formatCode>
                <c:ptCount val="13"/>
                <c:pt idx="0">
                  <c:v>9.8171656620979042E-2</c:v>
                </c:pt>
                <c:pt idx="1">
                  <c:v>8.9926770388913058E-2</c:v>
                </c:pt>
                <c:pt idx="2">
                  <c:v>7.2204557350374232E-2</c:v>
                </c:pt>
                <c:pt idx="3">
                  <c:v>5.6494692421120818E-2</c:v>
                </c:pt>
                <c:pt idx="4">
                  <c:v>5.4740274137264011E-2</c:v>
                </c:pt>
                <c:pt idx="5">
                  <c:v>4.3544260138970614E-2</c:v>
                </c:pt>
                <c:pt idx="6">
                  <c:v>4.2443212544117648E-2</c:v>
                </c:pt>
                <c:pt idx="7">
                  <c:v>2.4304271099641062E-2</c:v>
                </c:pt>
                <c:pt idx="8">
                  <c:v>1.2327974278216081E-2</c:v>
                </c:pt>
                <c:pt idx="9">
                  <c:v>1.1650713914474364E-2</c:v>
                </c:pt>
                <c:pt idx="10">
                  <c:v>7.2938028165148161E-4</c:v>
                </c:pt>
                <c:pt idx="11">
                  <c:v>7.0486304270722666E-4</c:v>
                </c:pt>
                <c:pt idx="12">
                  <c:v>9.0431586204475778E-5</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in val="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0.18605121780691328"/>
          <c:y val="0.92588992513555457"/>
          <c:w val="0.70171071665064166"/>
          <c:h val="7.4110074864445472E-2"/>
        </c:manualLayout>
      </c:layout>
      <c:overlay val="1"/>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502681948447227E-2"/>
          <c:y val="2.7011081948089821E-2"/>
          <c:w val="0.94661545382966195"/>
          <c:h val="0.61852794786062937"/>
        </c:manualLayout>
      </c:layout>
      <c:barChart>
        <c:barDir val="col"/>
        <c:grouping val="clustered"/>
        <c:varyColors val="0"/>
        <c:ser>
          <c:idx val="0"/>
          <c:order val="0"/>
          <c:tx>
            <c:strRef>
              <c:f>Sheet1!$B$1</c:f>
              <c:strCache>
                <c:ptCount val="1"/>
                <c:pt idx="0">
                  <c:v>Value </c:v>
                </c:pt>
              </c:strCache>
            </c:strRef>
          </c:tx>
          <c:spPr>
            <a:solidFill>
              <a:schemeClr val="accent5">
                <a:lumMod val="60000"/>
                <a:lumOff val="40000"/>
              </a:schemeClr>
            </a:solidFill>
            <a:ln>
              <a:noFill/>
            </a:ln>
            <a:effectLst/>
          </c:spPr>
          <c:invertIfNegative val="0"/>
          <c:dPt>
            <c:idx val="17"/>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1-7B1F-43F2-9BBF-A508B19E30C3}"/>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Cucumber</c:v>
                </c:pt>
                <c:pt idx="1">
                  <c:v>Peppers</c:v>
                </c:pt>
                <c:pt idx="2">
                  <c:v>Tomatoes</c:v>
                </c:pt>
                <c:pt idx="3">
                  <c:v> Lettuce </c:v>
                </c:pt>
              </c:strCache>
            </c:strRef>
          </c:cat>
          <c:val>
            <c:numRef>
              <c:f>Sheet1!$B$2:$B$5</c:f>
              <c:numCache>
                <c:formatCode>0.0%</c:formatCode>
                <c:ptCount val="4"/>
                <c:pt idx="0">
                  <c:v>0.31812021110212485</c:v>
                </c:pt>
                <c:pt idx="1">
                  <c:v>-5.2744053279571324E-2</c:v>
                </c:pt>
                <c:pt idx="2">
                  <c:v>-0.14186608702011239</c:v>
                </c:pt>
                <c:pt idx="3">
                  <c:v>0.13705063153635866</c:v>
                </c:pt>
              </c:numCache>
            </c:numRef>
          </c:val>
          <c:extLst>
            <c:ext xmlns:c16="http://schemas.microsoft.com/office/drawing/2014/chart" uri="{C3380CC4-5D6E-409C-BE32-E72D297353CC}">
              <c16:uniqueId val="{00000002-7B1F-43F2-9BBF-A508B19E30C3}"/>
            </c:ext>
          </c:extLst>
        </c:ser>
        <c:ser>
          <c:idx val="1"/>
          <c:order val="1"/>
          <c:tx>
            <c:strRef>
              <c:f>Sheet1!$C$1</c:f>
              <c:strCache>
                <c:ptCount val="1"/>
                <c:pt idx="0">
                  <c:v>Units</c:v>
                </c:pt>
              </c:strCache>
            </c:strRef>
          </c:tx>
          <c:spPr>
            <a:solidFill>
              <a:schemeClr val="accent5"/>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ucumber</c:v>
                </c:pt>
                <c:pt idx="1">
                  <c:v>Peppers</c:v>
                </c:pt>
                <c:pt idx="2">
                  <c:v>Tomatoes</c:v>
                </c:pt>
                <c:pt idx="3">
                  <c:v> Lettuce </c:v>
                </c:pt>
              </c:strCache>
            </c:strRef>
          </c:cat>
          <c:val>
            <c:numRef>
              <c:f>Sheet1!$C$2:$C$5</c:f>
              <c:numCache>
                <c:formatCode>0.0%</c:formatCode>
                <c:ptCount val="4"/>
                <c:pt idx="0">
                  <c:v>-9.9991427569618208E-2</c:v>
                </c:pt>
                <c:pt idx="1">
                  <c:v>-0.16774140612952493</c:v>
                </c:pt>
                <c:pt idx="2">
                  <c:v>-0.17638746239014158</c:v>
                </c:pt>
                <c:pt idx="3">
                  <c:v>-3.0388275119741626E-2</c:v>
                </c:pt>
              </c:numCache>
            </c:numRef>
          </c:val>
          <c:extLst>
            <c:ext xmlns:c16="http://schemas.microsoft.com/office/drawing/2014/chart" uri="{C3380CC4-5D6E-409C-BE32-E72D297353CC}">
              <c16:uniqueId val="{00000003-7B1F-43F2-9BBF-A508B19E30C3}"/>
            </c:ext>
          </c:extLst>
        </c:ser>
        <c:dLbls>
          <c:showLegendKey val="0"/>
          <c:showVal val="0"/>
          <c:showCatName val="0"/>
          <c:showSerName val="0"/>
          <c:showPercent val="0"/>
          <c:showBubbleSize val="0"/>
        </c:dLbls>
        <c:gapWidth val="80"/>
        <c:overlap val="1"/>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502681948447227E-2"/>
          <c:y val="2.7011081948089821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3A9F5"/>
            </a:solidFill>
            <a:ln>
              <a:noFill/>
            </a:ln>
            <a:effectLst/>
          </c:spPr>
          <c:invertIfNegative val="1"/>
          <c:dPt>
            <c:idx val="17"/>
            <c:invertIfNegative val="1"/>
            <c:bubble3D val="0"/>
            <c:spPr>
              <a:solidFill>
                <a:srgbClr val="A3A9F5"/>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Dairy</c:v>
                </c:pt>
                <c:pt idx="1">
                  <c:v>Pet &amp; Petcare</c:v>
                </c:pt>
                <c:pt idx="2">
                  <c:v>Confectionery</c:v>
                </c:pt>
                <c:pt idx="3">
                  <c:v>Bakery</c:v>
                </c:pt>
                <c:pt idx="4">
                  <c:v>Packaged Grocery</c:v>
                </c:pt>
                <c:pt idx="5">
                  <c:v>Frozen</c:v>
                </c:pt>
                <c:pt idx="6">
                  <c:v>Crisps &amp; Snacks</c:v>
                </c:pt>
                <c:pt idx="7">
                  <c:v>Household</c:v>
                </c:pt>
                <c:pt idx="8">
                  <c:v>TSR excluding General Merchandise</c:v>
                </c:pt>
                <c:pt idx="9">
                  <c:v>Meat Fish &amp; Poultry</c:v>
                </c:pt>
                <c:pt idx="10">
                  <c:v>Delicatessen</c:v>
                </c:pt>
                <c:pt idx="11">
                  <c:v>Total Store Read</c:v>
                </c:pt>
                <c:pt idx="12">
                  <c:v>Soft Drinks</c:v>
                </c:pt>
                <c:pt idx="13">
                  <c:v>Health &amp; Beauty inc Baby</c:v>
                </c:pt>
                <c:pt idx="14">
                  <c:v>Produce</c:v>
                </c:pt>
                <c:pt idx="15">
                  <c:v>BWS</c:v>
                </c:pt>
                <c:pt idx="16">
                  <c:v>General Merchandise</c:v>
                </c:pt>
                <c:pt idx="17">
                  <c:v>Tobacco</c:v>
                </c:pt>
              </c:strCache>
            </c:strRef>
          </c:cat>
          <c:val>
            <c:numRef>
              <c:f>Sheet1!$B$2:$B$19</c:f>
              <c:numCache>
                <c:formatCode>0.0%</c:formatCode>
                <c:ptCount val="18"/>
                <c:pt idx="0">
                  <c:v>0.21199999999999999</c:v>
                </c:pt>
                <c:pt idx="1">
                  <c:v>0.19400000000000001</c:v>
                </c:pt>
                <c:pt idx="2">
                  <c:v>0.17599999999999999</c:v>
                </c:pt>
                <c:pt idx="3">
                  <c:v>0.17</c:v>
                </c:pt>
                <c:pt idx="4">
                  <c:v>0.153</c:v>
                </c:pt>
                <c:pt idx="5">
                  <c:v>0.151</c:v>
                </c:pt>
                <c:pt idx="6">
                  <c:v>0.128</c:v>
                </c:pt>
                <c:pt idx="7">
                  <c:v>0.127</c:v>
                </c:pt>
                <c:pt idx="8">
                  <c:v>0.121</c:v>
                </c:pt>
                <c:pt idx="9">
                  <c:v>0.11600000000000001</c:v>
                </c:pt>
                <c:pt idx="10">
                  <c:v>0.115</c:v>
                </c:pt>
                <c:pt idx="11">
                  <c:v>0.106</c:v>
                </c:pt>
                <c:pt idx="12">
                  <c:v>9.7000000000000003E-2</c:v>
                </c:pt>
                <c:pt idx="13">
                  <c:v>9.6000000000000002E-2</c:v>
                </c:pt>
                <c:pt idx="14">
                  <c:v>6.5000000000000002E-2</c:v>
                </c:pt>
                <c:pt idx="15">
                  <c:v>3.2000000000000001E-2</c:v>
                </c:pt>
                <c:pt idx="16">
                  <c:v>2.5000000000000001E-2</c:v>
                </c:pt>
                <c:pt idx="17">
                  <c:v>6.0000000000000001E-3</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266</cdr:x>
      <cdr:y>0.64082</cdr:y>
    </cdr:from>
    <cdr:to>
      <cdr:x>0.42415</cdr:x>
      <cdr:y>0.72215</cdr:y>
    </cdr:to>
    <cdr:sp macro="" textlink="">
      <cdr:nvSpPr>
        <cdr:cNvPr id="2" name="TextBox 21">
          <a:extLst xmlns:a="http://schemas.openxmlformats.org/drawingml/2006/main">
            <a:ext uri="{FF2B5EF4-FFF2-40B4-BE49-F238E27FC236}">
              <a16:creationId xmlns:a16="http://schemas.microsoft.com/office/drawing/2014/main" id="{15BA4D51-461B-7E3A-E6C6-608565BF4A82}"/>
            </a:ext>
          </a:extLst>
        </cdr:cNvPr>
        <cdr:cNvSpPr txBox="1"/>
      </cdr:nvSpPr>
      <cdr:spPr>
        <a:xfrm xmlns:a="http://schemas.openxmlformats.org/drawingml/2006/main">
          <a:off x="1851695" y="2435658"/>
          <a:ext cx="553077" cy="309093"/>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spcAft>
              <a:spcPts val="600"/>
            </a:spcAft>
          </a:pPr>
          <a:r>
            <a:rPr lang="en-GB" sz="1200" dirty="0"/>
            <a:t>+20%</a:t>
          </a:r>
        </a:p>
      </cdr:txBody>
    </cdr:sp>
  </cdr:relSizeAnchor>
  <cdr:relSizeAnchor xmlns:cdr="http://schemas.openxmlformats.org/drawingml/2006/chartDrawing">
    <cdr:from>
      <cdr:x>0.24016</cdr:x>
      <cdr:y>0.52374</cdr:y>
    </cdr:from>
    <cdr:to>
      <cdr:x>0.33771</cdr:x>
      <cdr:y>0.60506</cdr:y>
    </cdr:to>
    <cdr:sp macro="" textlink="">
      <cdr:nvSpPr>
        <cdr:cNvPr id="3"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1361592" y="1990636"/>
          <a:ext cx="553066" cy="309082"/>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38%</a:t>
          </a:r>
        </a:p>
      </cdr:txBody>
    </cdr:sp>
  </cdr:relSizeAnchor>
  <cdr:relSizeAnchor xmlns:cdr="http://schemas.openxmlformats.org/drawingml/2006/chartDrawing">
    <cdr:from>
      <cdr:x>0.26514</cdr:x>
      <cdr:y>0.11034</cdr:y>
    </cdr:from>
    <cdr:to>
      <cdr:x>0.3627</cdr:x>
      <cdr:y>0.19167</cdr:y>
    </cdr:to>
    <cdr:sp macro="" textlink="">
      <cdr:nvSpPr>
        <cdr:cNvPr id="5" name="TextBox 21">
          <a:extLst xmlns:a="http://schemas.openxmlformats.org/drawingml/2006/main">
            <a:ext uri="{FF2B5EF4-FFF2-40B4-BE49-F238E27FC236}">
              <a16:creationId xmlns:a16="http://schemas.microsoft.com/office/drawing/2014/main" id="{864453C8-930E-0F99-1B58-03F5196A635D}"/>
            </a:ext>
          </a:extLst>
        </cdr:cNvPr>
        <cdr:cNvSpPr txBox="1"/>
      </cdr:nvSpPr>
      <cdr:spPr>
        <a:xfrm xmlns:a="http://schemas.openxmlformats.org/drawingml/2006/main">
          <a:off x="1503250" y="419400"/>
          <a:ext cx="553077" cy="309093"/>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38%</a:t>
          </a:r>
        </a:p>
      </cdr:txBody>
    </cdr:sp>
  </cdr:relSizeAnchor>
  <cdr:relSizeAnchor xmlns:cdr="http://schemas.openxmlformats.org/drawingml/2006/chartDrawing">
    <cdr:from>
      <cdr:x>0.20494</cdr:x>
      <cdr:y>0.37294</cdr:y>
    </cdr:from>
    <cdr:to>
      <cdr:x>0.30249</cdr:x>
      <cdr:y>0.45427</cdr:y>
    </cdr:to>
    <cdr:sp macro="" textlink="">
      <cdr:nvSpPr>
        <cdr:cNvPr id="7"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1161945" y="1417495"/>
          <a:ext cx="553066" cy="309120"/>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28%</a:t>
          </a:r>
        </a:p>
      </cdr:txBody>
    </cdr:sp>
  </cdr:relSizeAnchor>
  <cdr:relSizeAnchor xmlns:cdr="http://schemas.openxmlformats.org/drawingml/2006/chartDrawing">
    <cdr:from>
      <cdr:x>0.42302</cdr:x>
      <cdr:y>0.6779</cdr:y>
    </cdr:from>
    <cdr:to>
      <cdr:x>0.52057</cdr:x>
      <cdr:y>0.75923</cdr:y>
    </cdr:to>
    <cdr:sp macro="" textlink="">
      <cdr:nvSpPr>
        <cdr:cNvPr id="8" name="TextBox 21">
          <a:extLst xmlns:a="http://schemas.openxmlformats.org/drawingml/2006/main">
            <a:ext uri="{FF2B5EF4-FFF2-40B4-BE49-F238E27FC236}">
              <a16:creationId xmlns:a16="http://schemas.microsoft.com/office/drawing/2014/main" id="{AF0484C1-567C-045C-B678-694FF41E19F4}"/>
            </a:ext>
          </a:extLst>
        </cdr:cNvPr>
        <cdr:cNvSpPr txBox="1"/>
      </cdr:nvSpPr>
      <cdr:spPr>
        <a:xfrm xmlns:a="http://schemas.openxmlformats.org/drawingml/2006/main">
          <a:off x="2398317" y="2576593"/>
          <a:ext cx="553066" cy="309120"/>
        </a:xfrm>
        <a:prstGeom xmlns:a="http://schemas.openxmlformats.org/drawingml/2006/main" prst="rect">
          <a:avLst/>
        </a:prstGeom>
        <a:noFill xmlns:a="http://schemas.openxmlformats.org/drawingml/2006/main"/>
      </cdr:spPr>
      <cdr:txBody>
        <a:bodyPr xmlns:a="http://schemas.openxmlformats.org/drawingml/2006/main" wrap="none" lIns="0" r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Aft>
              <a:spcPts val="600"/>
            </a:spcAft>
          </a:pPr>
          <a:r>
            <a:rPr lang="en-GB" sz="1200" dirty="0"/>
            <a:t>+1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3/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9</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5</a:t>
            </a:fld>
            <a:endParaRPr lang="en-US" dirty="0"/>
          </a:p>
        </p:txBody>
      </p:sp>
    </p:spTree>
    <p:extLst>
      <p:ext uri="{BB962C8B-B14F-4D97-AF65-F5344CB8AC3E}">
        <p14:creationId xmlns:p14="http://schemas.microsoft.com/office/powerpoint/2010/main" val="2589132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6</a:t>
            </a:fld>
            <a:endParaRPr lang="en-US" dirty="0"/>
          </a:p>
        </p:txBody>
      </p:sp>
    </p:spTree>
    <p:extLst>
      <p:ext uri="{BB962C8B-B14F-4D97-AF65-F5344CB8AC3E}">
        <p14:creationId xmlns:p14="http://schemas.microsoft.com/office/powerpoint/2010/main" val="15796090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5" name="TextBox 14">
            <a:extLst>
              <a:ext uri="{FF2B5EF4-FFF2-40B4-BE49-F238E27FC236}">
                <a16:creationId xmlns:a16="http://schemas.microsoft.com/office/drawing/2014/main" id="{D439B148-E719-27C3-3403-978BEDC13EC0}"/>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3374201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486842748"/>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6" name="TextBox 5">
            <a:extLst>
              <a:ext uri="{FF2B5EF4-FFF2-40B4-BE49-F238E27FC236}">
                <a16:creationId xmlns:a16="http://schemas.microsoft.com/office/drawing/2014/main" id="{56138D29-56C2-9514-291B-652CDA5A606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141815459"/>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8135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FE75FFEF-1818-D449-CEAB-1C574E815329}"/>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79708528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2082803"/>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608409"/>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E6F7F4C0-E6F7-792B-D58C-643DEB47C12E}"/>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9573120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208280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60841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5370EF36-EB2A-65C7-C0F8-688E55EF8052}"/>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38908797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419077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63285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63285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63285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75422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3" name="Text Placeholder 6">
            <a:extLst>
              <a:ext uri="{FF2B5EF4-FFF2-40B4-BE49-F238E27FC236}">
                <a16:creationId xmlns:a16="http://schemas.microsoft.com/office/drawing/2014/main" id="{51484B43-21FE-B0A1-A31A-BE6AD84E3926}"/>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923959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userDrawn="1"/>
        </p:nvCxnSpPr>
        <p:spPr>
          <a:xfrm>
            <a:off x="278932" y="718606"/>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3" name="Text Placeholder 6">
            <a:extLst>
              <a:ext uri="{FF2B5EF4-FFF2-40B4-BE49-F238E27FC236}">
                <a16:creationId xmlns:a16="http://schemas.microsoft.com/office/drawing/2014/main" id="{5ED8B14D-BD06-2581-E921-C80B76E260C7}"/>
              </a:ext>
            </a:extLst>
          </p:cNvPr>
          <p:cNvSpPr>
            <a:spLocks noGrp="1" noChangeAspect="1"/>
          </p:cNvSpPr>
          <p:nvPr>
            <p:ph type="body" sz="quarter" idx="13" hasCustomPrompt="1"/>
          </p:nvPr>
        </p:nvSpPr>
        <p:spPr>
          <a:xfrm>
            <a:off x="288558" y="845697"/>
            <a:ext cx="11582400"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0861820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4" name="Text Placeholder 6">
            <a:extLst>
              <a:ext uri="{FF2B5EF4-FFF2-40B4-BE49-F238E27FC236}">
                <a16:creationId xmlns:a16="http://schemas.microsoft.com/office/drawing/2014/main" id="{C644E75E-F3FD-631A-D490-8B6F7CE333C8}"/>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7758625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031709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4" name="Text Placeholder 6">
            <a:extLst>
              <a:ext uri="{FF2B5EF4-FFF2-40B4-BE49-F238E27FC236}">
                <a16:creationId xmlns:a16="http://schemas.microsoft.com/office/drawing/2014/main" id="{C4C10D55-544E-81C6-6C20-39E78BC83FEA}"/>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921691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4063176838"/>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6">
            <a:extLst>
              <a:ext uri="{FF2B5EF4-FFF2-40B4-BE49-F238E27FC236}">
                <a16:creationId xmlns:a16="http://schemas.microsoft.com/office/drawing/2014/main" id="{EA1EEDF0-6722-37DF-014E-CBC766E1C5AD}"/>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9786259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998E4BD5-0C50-59F6-AE72-8C460C3264D2}"/>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7461303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FD12D00-26FA-4262-C4F3-C04FA851070D}"/>
              </a:ext>
            </a:extLst>
          </p:cNvPr>
          <p:cNvCxnSpPr>
            <a:cxnSpLocks/>
          </p:cNvCxnSpPr>
          <p:nvPr userDrawn="1"/>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8" name="Text Placeholder 6">
            <a:extLst>
              <a:ext uri="{FF2B5EF4-FFF2-40B4-BE49-F238E27FC236}">
                <a16:creationId xmlns:a16="http://schemas.microsoft.com/office/drawing/2014/main" id="{EB679191-78BC-7261-F721-5C4067938027}"/>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9" name="Text Placeholder 6">
            <a:extLst>
              <a:ext uri="{FF2B5EF4-FFF2-40B4-BE49-F238E27FC236}">
                <a16:creationId xmlns:a16="http://schemas.microsoft.com/office/drawing/2014/main" id="{528AF2DC-7B6B-57A3-5C2C-82CB197970D9}"/>
              </a:ext>
            </a:extLst>
          </p:cNvPr>
          <p:cNvSpPr>
            <a:spLocks noGrp="1" noChangeAspect="1"/>
          </p:cNvSpPr>
          <p:nvPr>
            <p:ph type="body" sz="quarter" idx="17" hasCustomPrompt="1"/>
          </p:nvPr>
        </p:nvSpPr>
        <p:spPr>
          <a:xfrm>
            <a:off x="6332714"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20506426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1041DD6D-3438-93A3-A777-68EA07FB1D42}"/>
              </a:ext>
            </a:extLst>
          </p:cNvPr>
          <p:cNvCxnSpPr>
            <a:cxnSpLocks/>
          </p:cNvCxnSpPr>
          <p:nvPr userDrawn="1"/>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2" name="Text Placeholder 6">
            <a:extLst>
              <a:ext uri="{FF2B5EF4-FFF2-40B4-BE49-F238E27FC236}">
                <a16:creationId xmlns:a16="http://schemas.microsoft.com/office/drawing/2014/main" id="{8C99E11B-C159-D17D-C268-1DC72F9A6636}"/>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5" name="Text Placeholder 6">
            <a:extLst>
              <a:ext uri="{FF2B5EF4-FFF2-40B4-BE49-F238E27FC236}">
                <a16:creationId xmlns:a16="http://schemas.microsoft.com/office/drawing/2014/main" id="{F6916D51-7B4D-64A7-C83B-BEB632A7D1FB}"/>
              </a:ext>
            </a:extLst>
          </p:cNvPr>
          <p:cNvSpPr>
            <a:spLocks noGrp="1" noChangeAspect="1"/>
          </p:cNvSpPr>
          <p:nvPr>
            <p:ph type="body" sz="quarter" idx="17" hasCustomPrompt="1"/>
          </p:nvPr>
        </p:nvSpPr>
        <p:spPr>
          <a:xfrm>
            <a:off x="6332714" y="860890"/>
            <a:ext cx="5537252" cy="677108"/>
          </a:xfrm>
          <a:solidFill>
            <a:schemeClr val="bg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17634025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userDrawn="1"/>
        </p:nvCxnSpPr>
        <p:spPr>
          <a:xfrm>
            <a:off x="278932"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9066B2B-EA3F-EAF6-AFF1-68682E47E581}"/>
              </a:ext>
            </a:extLst>
          </p:cNvPr>
          <p:cNvCxnSpPr>
            <a:cxnSpLocks/>
          </p:cNvCxnSpPr>
          <p:nvPr userDrawn="1"/>
        </p:nvCxnSpPr>
        <p:spPr>
          <a:xfrm>
            <a:off x="6329776" y="718606"/>
            <a:ext cx="55431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4pt</a:t>
            </a:r>
          </a:p>
        </p:txBody>
      </p:sp>
      <p:sp>
        <p:nvSpPr>
          <p:cNvPr id="15" name="Text Placeholder 6">
            <a:extLst>
              <a:ext uri="{FF2B5EF4-FFF2-40B4-BE49-F238E27FC236}">
                <a16:creationId xmlns:a16="http://schemas.microsoft.com/office/drawing/2014/main" id="{06F40655-E3AF-340C-6CA8-DA6492402FD0}"/>
              </a:ext>
            </a:extLst>
          </p:cNvPr>
          <p:cNvSpPr>
            <a:spLocks noGrp="1" noChangeAspect="1"/>
          </p:cNvSpPr>
          <p:nvPr>
            <p:ph type="body" sz="quarter" idx="16" hasCustomPrompt="1"/>
          </p:nvPr>
        </p:nvSpPr>
        <p:spPr>
          <a:xfrm>
            <a:off x="278932"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
        <p:nvSpPr>
          <p:cNvPr id="16" name="Text Placeholder 6">
            <a:extLst>
              <a:ext uri="{FF2B5EF4-FFF2-40B4-BE49-F238E27FC236}">
                <a16:creationId xmlns:a16="http://schemas.microsoft.com/office/drawing/2014/main" id="{E943460E-FA8B-6748-9708-860B37DC1D50}"/>
              </a:ext>
            </a:extLst>
          </p:cNvPr>
          <p:cNvSpPr>
            <a:spLocks noGrp="1" noChangeAspect="1"/>
          </p:cNvSpPr>
          <p:nvPr>
            <p:ph type="body" sz="quarter" idx="17" hasCustomPrompt="1"/>
          </p:nvPr>
        </p:nvSpPr>
        <p:spPr>
          <a:xfrm>
            <a:off x="6332714" y="860890"/>
            <a:ext cx="5537252"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6338982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19937851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6" name="TextBox 5">
            <a:extLst>
              <a:ext uri="{FF2B5EF4-FFF2-40B4-BE49-F238E27FC236}">
                <a16:creationId xmlns:a16="http://schemas.microsoft.com/office/drawing/2014/main" id="{CB3923C6-70F5-38D5-0F2A-AFB1BB6D8A0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29479059"/>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690903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4976755"/>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9C478FA-FA6E-05DF-854B-5D984ACB62F4}"/>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6286215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923774262"/>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273430082"/>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30928624"/>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55982587"/>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59927568"/>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218039214"/>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035978683"/>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9655620"/>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84355298"/>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86965755"/>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0948599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379439870"/>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68371167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911997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683640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807658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0402333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1787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8092480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352608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4274220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264414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542879898"/>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08017769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742419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626827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947780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0975454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0628695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743872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8977801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92827909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7381787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822861368"/>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05118187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801782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501136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24219582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330123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1670955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918898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4674401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2408000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64048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92085752"/>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92801117"/>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179304991"/>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193C76AA-4DF2-00B8-801D-4B1D52D471DD}"/>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254328145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FA3C0EC-F1E0-4D42-57B1-27E1B43D0E3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3635695223"/>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581082450"/>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C1B2951F-358B-E079-C0A6-9038C3D0702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930196094"/>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5408F108-E005-1A2A-0097-54905854A471}"/>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535218283"/>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7F9A3DC9-EEEF-C28D-D3EA-38058BEE675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06860891"/>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9709665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29858169"/>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091962425"/>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13601896"/>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userDrawn="1"/>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2547349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64013977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5610FA71-069D-E398-B6E9-5C68D1D1776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592948476"/>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48918972"/>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98901426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36144002"/>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06995410"/>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E89EE416-58E3-4559-C3F9-60F4F55690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454959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cxnSp>
        <p:nvCxnSpPr>
          <p:cNvPr id="3" name="Straight Connector 2">
            <a:extLst>
              <a:ext uri="{FF2B5EF4-FFF2-40B4-BE49-F238E27FC236}">
                <a16:creationId xmlns:a16="http://schemas.microsoft.com/office/drawing/2014/main" id="{022B0290-F2EB-7CD4-F20A-D815DC90CCF1}"/>
              </a:ext>
            </a:extLst>
          </p:cNvPr>
          <p:cNvCxnSpPr>
            <a:cxnSpLocks/>
          </p:cNvCxnSpPr>
          <p:nvPr userDrawn="1"/>
        </p:nvCxnSpPr>
        <p:spPr>
          <a:xfrm>
            <a:off x="5826368" y="6394938"/>
            <a:ext cx="6365632" cy="0"/>
          </a:xfrm>
          <a:prstGeom prst="line">
            <a:avLst/>
          </a:prstGeom>
          <a:ln w="15875">
            <a:solidFill>
              <a:schemeClr val="tx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401311436"/>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9" y="579495"/>
            <a:ext cx="11582400" cy="436543"/>
          </a:xfrm>
        </p:spPr>
        <p:txBody>
          <a:bodyPr/>
          <a:lstStyle>
            <a:lvl1pPr marL="0" indent="0">
              <a:spcBef>
                <a:spcPts val="0"/>
              </a:spcBef>
              <a:spcAft>
                <a:spcPts val="0"/>
              </a:spcAft>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9" y="5985328"/>
            <a:ext cx="11582399" cy="365125"/>
          </a:xfrm>
        </p:spPr>
        <p:txBody>
          <a:bodyPr anchor="b" anchorCtr="0"/>
          <a:lstStyle>
            <a:lvl1pPr marL="0" indent="0">
              <a:spcBef>
                <a:spcPts val="0"/>
              </a:spcBef>
              <a:spcAft>
                <a:spcPts val="0"/>
              </a:spcAft>
              <a:buNone/>
              <a:defRPr sz="800">
                <a:solidFill>
                  <a:srgbClr val="B3B3B3"/>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9" y="178971"/>
            <a:ext cx="11582400"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46EFBE98-9ABD-F7F5-A702-F850E0D974B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43845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00863654-156E-C922-E096-60320264BEC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7879071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642534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pic>
        <p:nvPicPr>
          <p:cNvPr id="15" name="Picture 14">
            <a:extLst>
              <a:ext uri="{FF2B5EF4-FFF2-40B4-BE49-F238E27FC236}">
                <a16:creationId xmlns:a16="http://schemas.microsoft.com/office/drawing/2014/main" id="{D43252C9-57FF-90FE-D90C-8F401F2FFC7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021368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48894906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725972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5028650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divider_blue">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9D63DF4-4A31-FFB9-389B-E070EE3A874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pic>
        <p:nvPicPr>
          <p:cNvPr id="5" name="Picture 4" descr="A picture containing text, clipart, vector graphics&#10;&#10;Description automatically generated">
            <a:extLst>
              <a:ext uri="{FF2B5EF4-FFF2-40B4-BE49-F238E27FC236}">
                <a16:creationId xmlns:a16="http://schemas.microsoft.com/office/drawing/2014/main" id="{A68EE151-7C0F-C0DE-55D8-500457544D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933071"/>
            <a:ext cx="12192000" cy="4924929"/>
          </a:xfrm>
          <a:prstGeom prst="rect">
            <a:avLst/>
          </a:prstGeom>
        </p:spPr>
      </p:pic>
      <p:sp>
        <p:nvSpPr>
          <p:cNvPr id="13" name="TextBox 12">
            <a:extLst>
              <a:ext uri="{FF2B5EF4-FFF2-40B4-BE49-F238E27FC236}">
                <a16:creationId xmlns:a16="http://schemas.microsoft.com/office/drawing/2014/main" id="{E6A4A887-0B01-A1E0-303F-5B04C931885C}"/>
              </a:ext>
            </a:extLst>
          </p:cNvPr>
          <p:cNvSpPr txBox="1"/>
          <p:nvPr userDrawn="1"/>
        </p:nvSpPr>
        <p:spPr>
          <a:xfrm>
            <a:off x="2148886" y="525075"/>
            <a:ext cx="7226342" cy="925422"/>
          </a:xfrm>
          <a:prstGeom prst="rect">
            <a:avLst/>
          </a:prstGeom>
          <a:noFill/>
        </p:spPr>
        <p:txBody>
          <a:bodyPr wrap="square" lIns="0" rIns="0" rtlCol="0">
            <a:noAutofit/>
          </a:bodyPr>
          <a:lstStyle/>
          <a:p>
            <a:pPr algn="l">
              <a:spcAft>
                <a:spcPts val="600"/>
              </a:spcAft>
            </a:pPr>
            <a:r>
              <a:rPr lang="en-US" sz="6000" dirty="0">
                <a:solidFill>
                  <a:schemeClr val="tx2"/>
                </a:solidFill>
                <a:latin typeface="Georgia" panose="02040502050405020303" pitchFamily="18" charset="0"/>
              </a:rPr>
              <a:t>Coming</a:t>
            </a:r>
            <a:r>
              <a:rPr lang="en-US" sz="6000" dirty="0">
                <a:latin typeface="Georgia" panose="02040502050405020303" pitchFamily="18" charset="0"/>
              </a:rPr>
              <a:t> </a:t>
            </a:r>
            <a:r>
              <a:rPr lang="en-US" sz="6000" i="1" dirty="0">
                <a:solidFill>
                  <a:schemeClr val="bg1"/>
                </a:solidFill>
                <a:latin typeface="Georgia" panose="02040502050405020303" pitchFamily="18" charset="0"/>
              </a:rPr>
              <a:t>into view</a:t>
            </a:r>
          </a:p>
        </p:txBody>
      </p:sp>
      <p:sp>
        <p:nvSpPr>
          <p:cNvPr id="16" name="TextBox 15">
            <a:extLst>
              <a:ext uri="{FF2B5EF4-FFF2-40B4-BE49-F238E27FC236}">
                <a16:creationId xmlns:a16="http://schemas.microsoft.com/office/drawing/2014/main" id="{88320B2B-03F3-21C8-D1D8-00761125170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135173156"/>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Logo, icon&#10;&#10;Description automatically generated">
            <a:extLst>
              <a:ext uri="{FF2B5EF4-FFF2-40B4-BE49-F238E27FC236}">
                <a16:creationId xmlns:a16="http://schemas.microsoft.com/office/drawing/2014/main" id="{0AEC98D4-82CE-EB0D-7297-C612DBEA1D1E}"/>
              </a:ext>
            </a:extLst>
          </p:cNvPr>
          <p:cNvPicPr>
            <a:picLocks noChangeAspect="1"/>
          </p:cNvPicPr>
          <p:nvPr userDrawn="1"/>
        </p:nvPicPr>
        <p:blipFill rotWithShape="1">
          <a:blip r:embed="rId2" cstate="screen">
            <a:alphaModFix amt="21000"/>
            <a:extLst>
              <a:ext uri="{28A0092B-C50C-407E-A947-70E740481C1C}">
                <a14:useLocalDpi xmlns:a14="http://schemas.microsoft.com/office/drawing/2010/main"/>
              </a:ext>
            </a:extLst>
          </a:blip>
          <a:srcRect l="9229" r="3259" b="18061"/>
          <a:stretch/>
        </p:blipFill>
        <p:spPr>
          <a:xfrm>
            <a:off x="0" y="1969501"/>
            <a:ext cx="12192000" cy="488849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extBox 15">
            <a:extLst>
              <a:ext uri="{FF2B5EF4-FFF2-40B4-BE49-F238E27FC236}">
                <a16:creationId xmlns:a16="http://schemas.microsoft.com/office/drawing/2014/main" id="{DD3CED18-D30A-1665-85F5-6E5B486D1561}"/>
              </a:ext>
            </a:extLst>
          </p:cNvPr>
          <p:cNvSpPr txBox="1"/>
          <p:nvPr userDrawn="1"/>
        </p:nvSpPr>
        <p:spPr>
          <a:xfrm>
            <a:off x="433137" y="-2165684"/>
            <a:ext cx="0" cy="0"/>
          </a:xfrm>
          <a:prstGeom prst="rect">
            <a:avLst/>
          </a:prstGeom>
          <a:noFill/>
        </p:spPr>
        <p:txBody>
          <a:bodyPr wrap="none" lIns="0" rIns="0" rtlCol="0">
            <a:noAutofit/>
          </a:bodyPr>
          <a:lstStyle/>
          <a:p>
            <a:pPr algn="l">
              <a:spcAft>
                <a:spcPts val="600"/>
              </a:spcAft>
            </a:pPr>
            <a:endParaRPr lang="en-US" sz="1600" dirty="0"/>
          </a:p>
        </p:txBody>
      </p:sp>
      <p:sp>
        <p:nvSpPr>
          <p:cNvPr id="8" name="TextBox 7">
            <a:extLst>
              <a:ext uri="{FF2B5EF4-FFF2-40B4-BE49-F238E27FC236}">
                <a16:creationId xmlns:a16="http://schemas.microsoft.com/office/drawing/2014/main" id="{9A9A2108-2173-D67A-98E1-6B706C2D5745}"/>
              </a:ext>
            </a:extLst>
          </p:cNvPr>
          <p:cNvSpPr txBox="1"/>
          <p:nvPr userDrawn="1"/>
        </p:nvSpPr>
        <p:spPr>
          <a:xfrm>
            <a:off x="2148886" y="525075"/>
            <a:ext cx="7226342" cy="925422"/>
          </a:xfrm>
          <a:prstGeom prst="rect">
            <a:avLst/>
          </a:prstGeom>
          <a:noFill/>
        </p:spPr>
        <p:txBody>
          <a:bodyPr wrap="square" lIns="0" rIns="0" rtlCol="0">
            <a:noAutofit/>
          </a:bodyPr>
          <a:lstStyle/>
          <a:p>
            <a:pPr algn="l">
              <a:spcAft>
                <a:spcPts val="600"/>
              </a:spcAft>
            </a:pPr>
            <a:r>
              <a:rPr lang="en-US" sz="6000" dirty="0">
                <a:solidFill>
                  <a:schemeClr val="bg2"/>
                </a:solidFill>
                <a:latin typeface="Georgia" panose="02040502050405020303" pitchFamily="18" charset="0"/>
              </a:rPr>
              <a:t>Coming </a:t>
            </a:r>
            <a:r>
              <a:rPr lang="en-US" sz="6000" i="1" dirty="0">
                <a:solidFill>
                  <a:schemeClr val="bg1"/>
                </a:solidFill>
                <a:latin typeface="Georgia" panose="02040502050405020303" pitchFamily="18" charset="0"/>
              </a:rPr>
              <a:t>into view</a:t>
            </a:r>
          </a:p>
        </p:txBody>
      </p:sp>
    </p:spTree>
    <p:extLst>
      <p:ext uri="{BB962C8B-B14F-4D97-AF65-F5344CB8AC3E}">
        <p14:creationId xmlns:p14="http://schemas.microsoft.com/office/powerpoint/2010/main" val="898877266"/>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divider_deep_violet">
    <p:bg>
      <p:bgPr>
        <a:solidFill>
          <a:schemeClr val="accent4"/>
        </a:solidFill>
        <a:effectLst/>
      </p:bgPr>
    </p:bg>
    <p:spTree>
      <p:nvGrpSpPr>
        <p:cNvPr id="1" name=""/>
        <p:cNvGrpSpPr/>
        <p:nvPr/>
      </p:nvGrpSpPr>
      <p:grpSpPr>
        <a:xfrm>
          <a:off x="0" y="0"/>
          <a:ext cx="0" cy="0"/>
          <a:chOff x="0" y="0"/>
          <a:chExt cx="0" cy="0"/>
        </a:xfrm>
      </p:grpSpPr>
      <p:pic>
        <p:nvPicPr>
          <p:cNvPr id="2" name="Picture 1" descr="A picture containing indoor, valley, canyon, store&#10;&#10;Description automatically generated">
            <a:extLst>
              <a:ext uri="{FF2B5EF4-FFF2-40B4-BE49-F238E27FC236}">
                <a16:creationId xmlns:a16="http://schemas.microsoft.com/office/drawing/2014/main" id="{B910F51D-352B-C905-A1C7-DA5FF0BEB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1" name="TextBox 10">
            <a:extLst>
              <a:ext uri="{FF2B5EF4-FFF2-40B4-BE49-F238E27FC236}">
                <a16:creationId xmlns:a16="http://schemas.microsoft.com/office/drawing/2014/main" id="{A95F480C-FC30-02D7-7634-A388073219ED}"/>
              </a:ext>
            </a:extLst>
          </p:cNvPr>
          <p:cNvSpPr txBox="1"/>
          <p:nvPr userDrawn="1"/>
        </p:nvSpPr>
        <p:spPr>
          <a:xfrm>
            <a:off x="2756300" y="1109469"/>
            <a:ext cx="6679401" cy="3245834"/>
          </a:xfrm>
          <a:prstGeom prst="rect">
            <a:avLst/>
          </a:prstGeom>
          <a:noFill/>
        </p:spPr>
        <p:txBody>
          <a:bodyPr wrap="square" lIns="0" rIns="0" rtlCol="0" anchor="b">
            <a:noAutofit/>
          </a:bodyPr>
          <a:lstStyle/>
          <a:p>
            <a:pPr algn="l">
              <a:spcAft>
                <a:spcPts val="600"/>
              </a:spcAft>
            </a:pPr>
            <a:r>
              <a:rPr lang="en-US" sz="4400" dirty="0">
                <a:solidFill>
                  <a:schemeClr val="bg1"/>
                </a:solidFill>
                <a:latin typeface="Georgia" panose="02040502050405020303" pitchFamily="18" charset="0"/>
              </a:rPr>
              <a:t>We want the world to see us for who we truly are… </a:t>
            </a:r>
          </a:p>
          <a:p>
            <a:pPr algn="l">
              <a:spcAft>
                <a:spcPts val="600"/>
              </a:spcAft>
            </a:pPr>
            <a:r>
              <a:rPr lang="en-US" sz="4400" i="1" dirty="0">
                <a:solidFill>
                  <a:schemeClr val="bg1"/>
                </a:solidFill>
                <a:latin typeface="Georgia" panose="02040502050405020303" pitchFamily="18" charset="0"/>
              </a:rPr>
              <a:t>a pathway to growth.</a:t>
            </a:r>
          </a:p>
        </p:txBody>
      </p:sp>
    </p:spTree>
    <p:extLst>
      <p:ext uri="{BB962C8B-B14F-4D97-AF65-F5344CB8AC3E}">
        <p14:creationId xmlns:p14="http://schemas.microsoft.com/office/powerpoint/2010/main" val="1187979968"/>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divider_deep_violet">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0F51D-352B-C905-A1C7-DA5FF0BEB0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365091"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5" name="Oval 4">
            <a:extLst>
              <a:ext uri="{FF2B5EF4-FFF2-40B4-BE49-F238E27FC236}">
                <a16:creationId xmlns:a16="http://schemas.microsoft.com/office/drawing/2014/main" id="{A10FBDD0-3328-10E3-D59D-0787A89A7CED}"/>
              </a:ext>
            </a:extLst>
          </p:cNvPr>
          <p:cNvSpPr/>
          <p:nvPr userDrawn="1"/>
        </p:nvSpPr>
        <p:spPr>
          <a:xfrm>
            <a:off x="7465670" y="321957"/>
            <a:ext cx="4924345" cy="492434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3" name="TextBox 12">
            <a:extLst>
              <a:ext uri="{FF2B5EF4-FFF2-40B4-BE49-F238E27FC236}">
                <a16:creationId xmlns:a16="http://schemas.microsoft.com/office/drawing/2014/main" id="{61E329B7-15B9-EDA8-860C-6D46149FDE8C}"/>
              </a:ext>
            </a:extLst>
          </p:cNvPr>
          <p:cNvSpPr txBox="1"/>
          <p:nvPr userDrawn="1"/>
        </p:nvSpPr>
        <p:spPr>
          <a:xfrm>
            <a:off x="8150512" y="481358"/>
            <a:ext cx="4536691" cy="3245834"/>
          </a:xfrm>
          <a:prstGeom prst="rect">
            <a:avLst/>
          </a:prstGeom>
          <a:noFill/>
        </p:spPr>
        <p:txBody>
          <a:bodyPr wrap="square" lIns="0" rIns="0" rtlCol="0" anchor="b">
            <a:noAutofit/>
          </a:bodyPr>
          <a:lstStyle/>
          <a:p>
            <a:pPr algn="l">
              <a:spcAft>
                <a:spcPts val="600"/>
              </a:spcAft>
            </a:pPr>
            <a:r>
              <a:rPr lang="en-US" sz="4400" b="1" dirty="0">
                <a:solidFill>
                  <a:schemeClr val="bg1"/>
                </a:solidFill>
                <a:latin typeface="+mj-lt"/>
              </a:rPr>
              <a:t>Our value</a:t>
            </a:r>
          </a:p>
          <a:p>
            <a:pPr algn="l">
              <a:spcAft>
                <a:spcPts val="600"/>
              </a:spcAft>
            </a:pPr>
            <a:r>
              <a:rPr lang="en-US" sz="4400" i="1" dirty="0">
                <a:solidFill>
                  <a:schemeClr val="bg1"/>
                </a:solidFill>
                <a:latin typeface="Georgia" panose="02040502050405020303" pitchFamily="18" charset="0"/>
              </a:rPr>
              <a:t>has never been more clear.</a:t>
            </a:r>
          </a:p>
        </p:txBody>
      </p:sp>
    </p:spTree>
    <p:extLst>
      <p:ext uri="{BB962C8B-B14F-4D97-AF65-F5344CB8AC3E}">
        <p14:creationId xmlns:p14="http://schemas.microsoft.com/office/powerpoint/2010/main" val="2276628996"/>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divider_deep_violet">
    <p:bg>
      <p:bgRef idx="1001">
        <a:schemeClr val="bg2"/>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0F51D-352B-C905-A1C7-DA5FF0BEB01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86463" y="0"/>
            <a:ext cx="6378628"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itle 1">
            <a:extLst>
              <a:ext uri="{FF2B5EF4-FFF2-40B4-BE49-F238E27FC236}">
                <a16:creationId xmlns:a16="http://schemas.microsoft.com/office/drawing/2014/main" id="{4E014DAA-9920-732B-0568-F5FD7497FF04}"/>
              </a:ext>
            </a:extLst>
          </p:cNvPr>
          <p:cNvSpPr txBox="1">
            <a:spLocks/>
          </p:cNvSpPr>
          <p:nvPr userDrawn="1"/>
        </p:nvSpPr>
        <p:spPr>
          <a:xfrm>
            <a:off x="288558" y="178971"/>
            <a:ext cx="5537253" cy="397352"/>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dirty="0"/>
              <a:t>Our Purpose</a:t>
            </a:r>
          </a:p>
        </p:txBody>
      </p:sp>
      <p:sp>
        <p:nvSpPr>
          <p:cNvPr id="15" name="TextBox 14">
            <a:extLst>
              <a:ext uri="{FF2B5EF4-FFF2-40B4-BE49-F238E27FC236}">
                <a16:creationId xmlns:a16="http://schemas.microsoft.com/office/drawing/2014/main" id="{8362B672-ADDE-36D3-BCF2-CB74CDE616C2}"/>
              </a:ext>
            </a:extLst>
          </p:cNvPr>
          <p:cNvSpPr txBox="1"/>
          <p:nvPr userDrawn="1"/>
        </p:nvSpPr>
        <p:spPr>
          <a:xfrm>
            <a:off x="627472" y="2564491"/>
            <a:ext cx="4969013" cy="2028527"/>
          </a:xfrm>
          <a:prstGeom prst="rect">
            <a:avLst/>
          </a:prstGeom>
          <a:noFill/>
        </p:spPr>
        <p:txBody>
          <a:bodyPr wrap="square" lIns="0" rIns="0" rtlCol="0">
            <a:noAutofit/>
          </a:bodyPr>
          <a:lstStyle/>
          <a:p>
            <a:pPr algn="l">
              <a:spcAft>
                <a:spcPts val="600"/>
              </a:spcAft>
            </a:pPr>
            <a:r>
              <a:rPr lang="en-US" sz="3200" dirty="0">
                <a:solidFill>
                  <a:schemeClr val="bg1"/>
                </a:solidFill>
                <a:latin typeface="Georgia" panose="02040502050405020303" pitchFamily="18" charset="0"/>
              </a:rPr>
              <a:t>Discover insights within consumer buying behavior </a:t>
            </a:r>
            <a:r>
              <a:rPr lang="en-US" sz="3200" i="1" dirty="0">
                <a:solidFill>
                  <a:schemeClr val="bg1"/>
                </a:solidFill>
                <a:latin typeface="Georgia" panose="02040502050405020303" pitchFamily="18" charset="0"/>
              </a:rPr>
              <a:t>and</a:t>
            </a:r>
            <a:r>
              <a:rPr lang="en-US" sz="3200" dirty="0">
                <a:solidFill>
                  <a:schemeClr val="bg1"/>
                </a:solidFill>
                <a:latin typeface="Georgia" panose="02040502050405020303" pitchFamily="18" charset="0"/>
              </a:rPr>
              <a:t> </a:t>
            </a:r>
            <a:r>
              <a:rPr lang="en-US" sz="3200" i="1" dirty="0">
                <a:solidFill>
                  <a:schemeClr val="bg1"/>
                </a:solidFill>
                <a:latin typeface="Georgia" panose="02040502050405020303" pitchFamily="18" charset="0"/>
              </a:rPr>
              <a:t>reveal them to the world.</a:t>
            </a:r>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
        <p:nvSpPr>
          <p:cNvPr id="19" name="Title 1">
            <a:extLst>
              <a:ext uri="{FF2B5EF4-FFF2-40B4-BE49-F238E27FC236}">
                <a16:creationId xmlns:a16="http://schemas.microsoft.com/office/drawing/2014/main" id="{C11D6095-173E-3995-DE39-0F11791773BF}"/>
              </a:ext>
            </a:extLst>
          </p:cNvPr>
          <p:cNvSpPr txBox="1">
            <a:spLocks/>
          </p:cNvSpPr>
          <p:nvPr userDrawn="1"/>
        </p:nvSpPr>
        <p:spPr>
          <a:xfrm>
            <a:off x="615262" y="1242823"/>
            <a:ext cx="4482256" cy="454504"/>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3200" b="0" dirty="0">
                <a:latin typeface="+mn-lt"/>
              </a:rPr>
              <a:t>Show the world </a:t>
            </a:r>
            <a:br>
              <a:rPr lang="en-US" sz="3200" b="0" dirty="0">
                <a:latin typeface="+mn-lt"/>
              </a:rPr>
            </a:br>
            <a:r>
              <a:rPr lang="en-US" sz="3200" b="0" dirty="0">
                <a:latin typeface="+mn-lt"/>
              </a:rPr>
              <a:t>what people want.</a:t>
            </a:r>
          </a:p>
        </p:txBody>
      </p:sp>
      <p:sp>
        <p:nvSpPr>
          <p:cNvPr id="4" name="TextBox 3">
            <a:extLst>
              <a:ext uri="{FF2B5EF4-FFF2-40B4-BE49-F238E27FC236}">
                <a16:creationId xmlns:a16="http://schemas.microsoft.com/office/drawing/2014/main" id="{74EAD86A-245D-BC4D-62CD-7F1DDEB9071E}"/>
              </a:ext>
            </a:extLst>
          </p:cNvPr>
          <p:cNvSpPr txBox="1"/>
          <p:nvPr userDrawn="1"/>
        </p:nvSpPr>
        <p:spPr>
          <a:xfrm>
            <a:off x="4034672" y="5910606"/>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738432206"/>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0_divider_deep_violet">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31DC12-D48A-13EB-BC33-21DC34576E92}"/>
              </a:ext>
            </a:extLst>
          </p:cNvPr>
          <p:cNvSpPr/>
          <p:nvPr userDrawn="1"/>
        </p:nvSpPr>
        <p:spPr>
          <a:xfrm>
            <a:off x="0" y="-213796"/>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marL="12065" marR="5080" lvl="0" indent="-100330" algn="l" defTabSz="914400" rtl="0" eaLnBrk="1" fontAlgn="auto" latinLnBrk="0" hangingPunct="1">
              <a:lnSpc>
                <a:spcPct val="146900"/>
              </a:lnSpc>
              <a:spcBef>
                <a:spcPts val="100"/>
              </a:spcBef>
              <a:spcAft>
                <a:spcPts val="0"/>
              </a:spcAft>
              <a:buClrTx/>
              <a:buSzTx/>
              <a:buFontTx/>
              <a:buNone/>
              <a:tabLst>
                <a:tab pos="872490" algn="l"/>
                <a:tab pos="972819" algn="l"/>
                <a:tab pos="1380490" algn="l"/>
                <a:tab pos="1525905" algn="l"/>
                <a:tab pos="2662555" algn="l"/>
                <a:tab pos="2762885" algn="l"/>
                <a:tab pos="2971800" algn="l"/>
                <a:tab pos="3170555" algn="l"/>
                <a:tab pos="3315970" algn="l"/>
                <a:tab pos="3479800" algn="l"/>
                <a:tab pos="3625215" algn="l"/>
                <a:tab pos="4895215" algn="l"/>
                <a:tab pos="5620385" algn="l"/>
                <a:tab pos="6171565" algn="l"/>
                <a:tab pos="6685280" algn="l"/>
                <a:tab pos="6994525" algn="l"/>
                <a:tab pos="7410450" algn="l"/>
                <a:tab pos="7719695" algn="l"/>
                <a:tab pos="7961630" algn="l"/>
                <a:tab pos="8270875" algn="l"/>
                <a:tab pos="9230995" algn="l"/>
                <a:tab pos="9424670" algn="l"/>
                <a:tab pos="11021060" algn="l"/>
                <a:tab pos="11214735" algn="l"/>
                <a:tab pos="11330940" algn="l"/>
                <a:tab pos="11524615" algn="l"/>
                <a:tab pos="13253719" algn="l"/>
                <a:tab pos="13519785" algn="l"/>
                <a:tab pos="14229715" algn="l"/>
              </a:tabLst>
              <a:defRPr/>
            </a:pPr>
            <a:r>
              <a:rPr lang="en-US" sz="1600" b="0" spc="-50" dirty="0">
                <a:solidFill>
                  <a:srgbClr val="2C6CF6">
                    <a:alpha val="20000"/>
                  </a:srgbClr>
                </a:solidFill>
                <a:latin typeface="+mj-lt"/>
                <a:cs typeface="Aktiv Grotesk"/>
              </a:rPr>
              <a:t>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 + DATA COMPANY + RESEARCH COMPANY + TECHNOLOGY COMPANY + ANALYTICS COMPANY + INSIGHTS COMPANY + MEASUREMENT COMPANY</a:t>
            </a:r>
            <a:r>
              <a:rPr lang="en-US" sz="1600" b="1" spc="-50" dirty="0">
                <a:solidFill>
                  <a:srgbClr val="2C6CF6">
                    <a:alpha val="20000"/>
                  </a:srgbClr>
                </a:solidFill>
                <a:latin typeface="+mj-lt"/>
                <a:cs typeface="Aktiv Grotesk"/>
              </a:rPr>
              <a:t> DATA COMPANY + RESEARCH COMPANY +</a:t>
            </a:r>
            <a:endParaRPr lang="en-US" sz="1600" b="0" dirty="0">
              <a:solidFill>
                <a:sysClr val="windowText" lastClr="000000">
                  <a:alpha val="20000"/>
                </a:sysClr>
              </a:solidFill>
              <a:latin typeface="+mj-lt"/>
              <a:cs typeface="Aktiv Grotesk"/>
            </a:endParaRPr>
          </a:p>
          <a:p>
            <a:pPr marL="12065" marR="5080" indent="-100330" algn="l">
              <a:lnSpc>
                <a:spcPct val="146900"/>
              </a:lnSpc>
              <a:spcBef>
                <a:spcPts val="100"/>
              </a:spcBef>
              <a:tabLst>
                <a:tab pos="872490" algn="l"/>
                <a:tab pos="972819" algn="l"/>
                <a:tab pos="1380490" algn="l"/>
                <a:tab pos="1525905" algn="l"/>
                <a:tab pos="2662555" algn="l"/>
                <a:tab pos="2762885" algn="l"/>
                <a:tab pos="2971800" algn="l"/>
                <a:tab pos="3170555" algn="l"/>
                <a:tab pos="3315970" algn="l"/>
                <a:tab pos="3479800" algn="l"/>
                <a:tab pos="3625215" algn="l"/>
                <a:tab pos="4895215" algn="l"/>
                <a:tab pos="5620385" algn="l"/>
                <a:tab pos="6171565" algn="l"/>
                <a:tab pos="6685280" algn="l"/>
                <a:tab pos="6994525" algn="l"/>
                <a:tab pos="7410450" algn="l"/>
                <a:tab pos="7719695" algn="l"/>
                <a:tab pos="7961630" algn="l"/>
                <a:tab pos="8270875" algn="l"/>
                <a:tab pos="9230995" algn="l"/>
                <a:tab pos="9424670" algn="l"/>
                <a:tab pos="11021060" algn="l"/>
                <a:tab pos="11214735" algn="l"/>
                <a:tab pos="11330940" algn="l"/>
                <a:tab pos="11524615" algn="l"/>
                <a:tab pos="13253719" algn="l"/>
                <a:tab pos="13519785" algn="l"/>
                <a:tab pos="14229715" algn="l"/>
              </a:tabLst>
            </a:pPr>
            <a:endParaRPr lang="en-US" sz="1600" b="0" dirty="0">
              <a:solidFill>
                <a:sysClr val="windowText" lastClr="000000">
                  <a:alpha val="20000"/>
                </a:sysClr>
              </a:solidFill>
              <a:latin typeface="+mj-lt"/>
              <a:cs typeface="Aktiv Grotesk"/>
            </a:endParaRP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1" name="TextBox 10">
            <a:extLst>
              <a:ext uri="{FF2B5EF4-FFF2-40B4-BE49-F238E27FC236}">
                <a16:creationId xmlns:a16="http://schemas.microsoft.com/office/drawing/2014/main" id="{A95F480C-FC30-02D7-7634-A388073219ED}"/>
              </a:ext>
            </a:extLst>
          </p:cNvPr>
          <p:cNvSpPr txBox="1"/>
          <p:nvPr userDrawn="1"/>
        </p:nvSpPr>
        <p:spPr>
          <a:xfrm>
            <a:off x="2756300" y="1477115"/>
            <a:ext cx="6679401" cy="3245834"/>
          </a:xfrm>
          <a:prstGeom prst="rect">
            <a:avLst/>
          </a:prstGeom>
          <a:noFill/>
        </p:spPr>
        <p:txBody>
          <a:bodyPr wrap="square" lIns="0" rIns="0" rtlCol="0" anchor="b">
            <a:noAutofit/>
          </a:bodyPr>
          <a:lstStyle/>
          <a:p>
            <a:pPr algn="l">
              <a:spcAft>
                <a:spcPts val="600"/>
              </a:spcAft>
            </a:pPr>
            <a:endParaRPr lang="en-US" sz="4400" i="1" dirty="0">
              <a:solidFill>
                <a:schemeClr val="accent1"/>
              </a:solidFill>
              <a:latin typeface="Georgia" panose="02040502050405020303" pitchFamily="18" charset="0"/>
            </a:endParaRPr>
          </a:p>
        </p:txBody>
      </p:sp>
      <p:sp>
        <p:nvSpPr>
          <p:cNvPr id="4" name="TextBox 3">
            <a:extLst>
              <a:ext uri="{FF2B5EF4-FFF2-40B4-BE49-F238E27FC236}">
                <a16:creationId xmlns:a16="http://schemas.microsoft.com/office/drawing/2014/main" id="{CC0D5B1E-E6A9-1E5B-D198-DDEFEAB07FC2}"/>
              </a:ext>
            </a:extLst>
          </p:cNvPr>
          <p:cNvSpPr txBox="1"/>
          <p:nvPr userDrawn="1"/>
        </p:nvSpPr>
        <p:spPr>
          <a:xfrm>
            <a:off x="1357313" y="342900"/>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03202019"/>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1_half_blue">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4D7DAA3-7AC5-DDD3-BC65-C10A135863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3429000"/>
            <a:ext cx="6096000" cy="3431653"/>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8" name="Picture 7">
            <a:extLst>
              <a:ext uri="{FF2B5EF4-FFF2-40B4-BE49-F238E27FC236}">
                <a16:creationId xmlns:a16="http://schemas.microsoft.com/office/drawing/2014/main" id="{1CDAF983-99DF-348C-C590-EE2A473E670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pic>
        <p:nvPicPr>
          <p:cNvPr id="13" name="Picture 12">
            <a:extLst>
              <a:ext uri="{FF2B5EF4-FFF2-40B4-BE49-F238E27FC236}">
                <a16:creationId xmlns:a16="http://schemas.microsoft.com/office/drawing/2014/main" id="{9F3CA427-5540-8F21-A1FB-98FB1467C62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096001" y="0"/>
            <a:ext cx="6091287" cy="3429000"/>
          </a:xfrm>
          <a:prstGeom prst="rect">
            <a:avLst/>
          </a:prstGeom>
          <a:ln>
            <a:noFill/>
          </a:ln>
        </p:spPr>
      </p:pic>
      <p:sp>
        <p:nvSpPr>
          <p:cNvPr id="20" name="TextBox 19">
            <a:extLst>
              <a:ext uri="{FF2B5EF4-FFF2-40B4-BE49-F238E27FC236}">
                <a16:creationId xmlns:a16="http://schemas.microsoft.com/office/drawing/2014/main" id="{7FF98CE3-FA88-DA51-4BF7-752560C1F2A6}"/>
              </a:ext>
            </a:extLst>
          </p:cNvPr>
          <p:cNvSpPr txBox="1"/>
          <p:nvPr userDrawn="1"/>
        </p:nvSpPr>
        <p:spPr>
          <a:xfrm>
            <a:off x="6530727" y="4058070"/>
            <a:ext cx="5466061" cy="1864225"/>
          </a:xfrm>
          <a:prstGeom prst="rect">
            <a:avLst/>
          </a:prstGeom>
          <a:noFill/>
        </p:spPr>
        <p:txBody>
          <a:bodyPr wrap="square" lIns="0" rIns="0" rtlCol="0" anchor="b">
            <a:noAutofit/>
          </a:bodyPr>
          <a:lstStyle/>
          <a:p>
            <a:pPr algn="l">
              <a:spcAft>
                <a:spcPts val="600"/>
              </a:spcAft>
            </a:pPr>
            <a:r>
              <a:rPr lang="en-US" sz="4000" dirty="0">
                <a:solidFill>
                  <a:schemeClr val="bg1"/>
                </a:solidFill>
                <a:latin typeface="Georgia" panose="02040502050405020303" pitchFamily="18" charset="0"/>
              </a:rPr>
              <a:t>We are </a:t>
            </a:r>
            <a:r>
              <a:rPr lang="en-US" sz="4000" i="1" dirty="0">
                <a:solidFill>
                  <a:schemeClr val="bg1"/>
                </a:solidFill>
                <a:latin typeface="Georgia" panose="02040502050405020303" pitchFamily="18" charset="0"/>
              </a:rPr>
              <a:t>the world’s consumer intelligence company.</a:t>
            </a:r>
          </a:p>
        </p:txBody>
      </p:sp>
      <p:sp>
        <p:nvSpPr>
          <p:cNvPr id="21" name="Rectangle 20">
            <a:extLst>
              <a:ext uri="{FF2B5EF4-FFF2-40B4-BE49-F238E27FC236}">
                <a16:creationId xmlns:a16="http://schemas.microsoft.com/office/drawing/2014/main" id="{5FDDBE65-91EB-0D44-3809-00D1D9DD2674}"/>
              </a:ext>
            </a:extLst>
          </p:cNvPr>
          <p:cNvSpPr/>
          <p:nvPr userDrawn="1"/>
        </p:nvSpPr>
        <p:spPr>
          <a:xfrm>
            <a:off x="3176" y="-2121"/>
            <a:ext cx="6091287" cy="34316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22" name="object 8">
            <a:extLst>
              <a:ext uri="{FF2B5EF4-FFF2-40B4-BE49-F238E27FC236}">
                <a16:creationId xmlns:a16="http://schemas.microsoft.com/office/drawing/2014/main" id="{D3EFE155-4580-E632-ADE6-E78281E25560}"/>
              </a:ext>
            </a:extLst>
          </p:cNvPr>
          <p:cNvSpPr/>
          <p:nvPr userDrawn="1"/>
        </p:nvSpPr>
        <p:spPr>
          <a:xfrm>
            <a:off x="1242999" y="882604"/>
            <a:ext cx="3861435" cy="1654810"/>
          </a:xfrm>
          <a:custGeom>
            <a:avLst/>
            <a:gdLst/>
            <a:ahLst/>
            <a:cxnLst/>
            <a:rect l="l" t="t" r="r" b="b"/>
            <a:pathLst>
              <a:path w="3861435" h="1654810">
                <a:moveTo>
                  <a:pt x="1308150" y="32143"/>
                </a:moveTo>
                <a:lnTo>
                  <a:pt x="953058" y="32143"/>
                </a:lnTo>
                <a:lnTo>
                  <a:pt x="953058" y="819442"/>
                </a:lnTo>
                <a:lnTo>
                  <a:pt x="310375" y="86055"/>
                </a:lnTo>
                <a:lnTo>
                  <a:pt x="268820" y="51142"/>
                </a:lnTo>
                <a:lnTo>
                  <a:pt x="219964" y="30797"/>
                </a:lnTo>
                <a:lnTo>
                  <a:pt x="167347" y="25882"/>
                </a:lnTo>
                <a:lnTo>
                  <a:pt x="114541" y="37287"/>
                </a:lnTo>
                <a:lnTo>
                  <a:pt x="76149" y="57772"/>
                </a:lnTo>
                <a:lnTo>
                  <a:pt x="44437" y="86372"/>
                </a:lnTo>
                <a:lnTo>
                  <a:pt x="20459" y="121551"/>
                </a:lnTo>
                <a:lnTo>
                  <a:pt x="5295" y="161709"/>
                </a:lnTo>
                <a:lnTo>
                  <a:pt x="0" y="205308"/>
                </a:lnTo>
                <a:lnTo>
                  <a:pt x="0" y="1466837"/>
                </a:lnTo>
                <a:lnTo>
                  <a:pt x="355104" y="1466837"/>
                </a:lnTo>
                <a:lnTo>
                  <a:pt x="355104" y="678738"/>
                </a:lnTo>
                <a:lnTo>
                  <a:pt x="997775" y="1412125"/>
                </a:lnTo>
                <a:lnTo>
                  <a:pt x="1026033" y="1438122"/>
                </a:lnTo>
                <a:lnTo>
                  <a:pt x="1058418" y="1457071"/>
                </a:lnTo>
                <a:lnTo>
                  <a:pt x="1093698" y="1468666"/>
                </a:lnTo>
                <a:lnTo>
                  <a:pt x="1130642" y="1472603"/>
                </a:lnTo>
                <a:lnTo>
                  <a:pt x="1146505" y="1471879"/>
                </a:lnTo>
                <a:lnTo>
                  <a:pt x="1193609" y="1460893"/>
                </a:lnTo>
                <a:lnTo>
                  <a:pt x="1232001" y="1440408"/>
                </a:lnTo>
                <a:lnTo>
                  <a:pt x="1263713" y="1411808"/>
                </a:lnTo>
                <a:lnTo>
                  <a:pt x="1287691" y="1376641"/>
                </a:lnTo>
                <a:lnTo>
                  <a:pt x="1302854" y="1336471"/>
                </a:lnTo>
                <a:lnTo>
                  <a:pt x="1308150" y="1292872"/>
                </a:lnTo>
                <a:lnTo>
                  <a:pt x="1308150" y="32143"/>
                </a:lnTo>
                <a:close/>
              </a:path>
              <a:path w="3861435" h="1654810">
                <a:moveTo>
                  <a:pt x="1993353" y="32143"/>
                </a:moveTo>
                <a:lnTo>
                  <a:pt x="1638261" y="32143"/>
                </a:lnTo>
                <a:lnTo>
                  <a:pt x="1638261" y="1466850"/>
                </a:lnTo>
                <a:lnTo>
                  <a:pt x="1993353" y="1466850"/>
                </a:lnTo>
                <a:lnTo>
                  <a:pt x="1993353" y="32143"/>
                </a:lnTo>
                <a:close/>
              </a:path>
              <a:path w="3861435" h="1654810">
                <a:moveTo>
                  <a:pt x="3860812" y="1400467"/>
                </a:moveTo>
                <a:lnTo>
                  <a:pt x="3850005" y="1389532"/>
                </a:lnTo>
                <a:lnTo>
                  <a:pt x="3601974" y="1138478"/>
                </a:lnTo>
                <a:lnTo>
                  <a:pt x="3598583" y="1135037"/>
                </a:lnTo>
                <a:lnTo>
                  <a:pt x="3622471" y="1091844"/>
                </a:lnTo>
                <a:lnTo>
                  <a:pt x="3643566" y="1046962"/>
                </a:lnTo>
                <a:lnTo>
                  <a:pt x="3661740" y="1000518"/>
                </a:lnTo>
                <a:lnTo>
                  <a:pt x="3676891" y="952614"/>
                </a:lnTo>
                <a:lnTo>
                  <a:pt x="3688880" y="903389"/>
                </a:lnTo>
                <a:lnTo>
                  <a:pt x="3697579" y="852957"/>
                </a:lnTo>
                <a:lnTo>
                  <a:pt x="3702901" y="801433"/>
                </a:lnTo>
                <a:lnTo>
                  <a:pt x="3704704" y="748944"/>
                </a:lnTo>
                <a:lnTo>
                  <a:pt x="3703116" y="699782"/>
                </a:lnTo>
                <a:lnTo>
                  <a:pt x="3698456" y="651446"/>
                </a:lnTo>
                <a:lnTo>
                  <a:pt x="3690797" y="604050"/>
                </a:lnTo>
                <a:lnTo>
                  <a:pt x="3680256" y="557695"/>
                </a:lnTo>
                <a:lnTo>
                  <a:pt x="3666909" y="512483"/>
                </a:lnTo>
                <a:lnTo>
                  <a:pt x="3650881" y="468490"/>
                </a:lnTo>
                <a:lnTo>
                  <a:pt x="3632250" y="425843"/>
                </a:lnTo>
                <a:lnTo>
                  <a:pt x="3611118" y="384632"/>
                </a:lnTo>
                <a:lnTo>
                  <a:pt x="3596157" y="359422"/>
                </a:lnTo>
                <a:lnTo>
                  <a:pt x="3587585" y="344957"/>
                </a:lnTo>
                <a:lnTo>
                  <a:pt x="3561753" y="306920"/>
                </a:lnTo>
                <a:lnTo>
                  <a:pt x="3533711" y="270611"/>
                </a:lnTo>
                <a:lnTo>
                  <a:pt x="3503561" y="236131"/>
                </a:lnTo>
                <a:lnTo>
                  <a:pt x="3471418" y="203593"/>
                </a:lnTo>
                <a:lnTo>
                  <a:pt x="3437356" y="173075"/>
                </a:lnTo>
                <a:lnTo>
                  <a:pt x="3401479" y="144691"/>
                </a:lnTo>
                <a:lnTo>
                  <a:pt x="3363899" y="118541"/>
                </a:lnTo>
                <a:lnTo>
                  <a:pt x="3349612" y="109867"/>
                </a:lnTo>
                <a:lnTo>
                  <a:pt x="3349612" y="748944"/>
                </a:lnTo>
                <a:lnTo>
                  <a:pt x="3346602" y="797737"/>
                </a:lnTo>
                <a:lnTo>
                  <a:pt x="3337826" y="844753"/>
                </a:lnTo>
                <a:lnTo>
                  <a:pt x="3323666" y="889596"/>
                </a:lnTo>
                <a:lnTo>
                  <a:pt x="3304451" y="931913"/>
                </a:lnTo>
                <a:lnTo>
                  <a:pt x="3280562" y="971346"/>
                </a:lnTo>
                <a:lnTo>
                  <a:pt x="3252368" y="1007516"/>
                </a:lnTo>
                <a:lnTo>
                  <a:pt x="3220224" y="1040053"/>
                </a:lnTo>
                <a:lnTo>
                  <a:pt x="3184487" y="1068603"/>
                </a:lnTo>
                <a:lnTo>
                  <a:pt x="3145536" y="1092771"/>
                </a:lnTo>
                <a:lnTo>
                  <a:pt x="3103727" y="1112215"/>
                </a:lnTo>
                <a:lnTo>
                  <a:pt x="3059417" y="1126566"/>
                </a:lnTo>
                <a:lnTo>
                  <a:pt x="3012973" y="1135443"/>
                </a:lnTo>
                <a:lnTo>
                  <a:pt x="2964777" y="1138478"/>
                </a:lnTo>
                <a:lnTo>
                  <a:pt x="2916567" y="1135443"/>
                </a:lnTo>
                <a:lnTo>
                  <a:pt x="2870123" y="1126566"/>
                </a:lnTo>
                <a:lnTo>
                  <a:pt x="2825826" y="1112215"/>
                </a:lnTo>
                <a:lnTo>
                  <a:pt x="2784017" y="1092771"/>
                </a:lnTo>
                <a:lnTo>
                  <a:pt x="2745067" y="1068603"/>
                </a:lnTo>
                <a:lnTo>
                  <a:pt x="2709329" y="1040053"/>
                </a:lnTo>
                <a:lnTo>
                  <a:pt x="2677185" y="1007516"/>
                </a:lnTo>
                <a:lnTo>
                  <a:pt x="2648991" y="971346"/>
                </a:lnTo>
                <a:lnTo>
                  <a:pt x="2625102" y="931913"/>
                </a:lnTo>
                <a:lnTo>
                  <a:pt x="2605887" y="889596"/>
                </a:lnTo>
                <a:lnTo>
                  <a:pt x="2591727" y="844753"/>
                </a:lnTo>
                <a:lnTo>
                  <a:pt x="2582951" y="797737"/>
                </a:lnTo>
                <a:lnTo>
                  <a:pt x="2579954" y="748944"/>
                </a:lnTo>
                <a:lnTo>
                  <a:pt x="2582951" y="700151"/>
                </a:lnTo>
                <a:lnTo>
                  <a:pt x="2591727" y="653148"/>
                </a:lnTo>
                <a:lnTo>
                  <a:pt x="2605887" y="608304"/>
                </a:lnTo>
                <a:lnTo>
                  <a:pt x="2625102" y="565988"/>
                </a:lnTo>
                <a:lnTo>
                  <a:pt x="2648991" y="526554"/>
                </a:lnTo>
                <a:lnTo>
                  <a:pt x="2677185" y="490385"/>
                </a:lnTo>
                <a:lnTo>
                  <a:pt x="2709329" y="457847"/>
                </a:lnTo>
                <a:lnTo>
                  <a:pt x="2745067" y="429310"/>
                </a:lnTo>
                <a:lnTo>
                  <a:pt x="2784017" y="405130"/>
                </a:lnTo>
                <a:lnTo>
                  <a:pt x="2825826" y="385686"/>
                </a:lnTo>
                <a:lnTo>
                  <a:pt x="2870123" y="371348"/>
                </a:lnTo>
                <a:lnTo>
                  <a:pt x="2916567" y="362470"/>
                </a:lnTo>
                <a:lnTo>
                  <a:pt x="2964777" y="359422"/>
                </a:lnTo>
                <a:lnTo>
                  <a:pt x="3012973" y="362470"/>
                </a:lnTo>
                <a:lnTo>
                  <a:pt x="3059417" y="371348"/>
                </a:lnTo>
                <a:lnTo>
                  <a:pt x="3103727" y="385686"/>
                </a:lnTo>
                <a:lnTo>
                  <a:pt x="3145536" y="405130"/>
                </a:lnTo>
                <a:lnTo>
                  <a:pt x="3184487" y="429310"/>
                </a:lnTo>
                <a:lnTo>
                  <a:pt x="3220224" y="457847"/>
                </a:lnTo>
                <a:lnTo>
                  <a:pt x="3252368" y="490385"/>
                </a:lnTo>
                <a:lnTo>
                  <a:pt x="3280562" y="526554"/>
                </a:lnTo>
                <a:lnTo>
                  <a:pt x="3304451" y="565988"/>
                </a:lnTo>
                <a:lnTo>
                  <a:pt x="3323666" y="608304"/>
                </a:lnTo>
                <a:lnTo>
                  <a:pt x="3337826" y="653148"/>
                </a:lnTo>
                <a:lnTo>
                  <a:pt x="3346602" y="700151"/>
                </a:lnTo>
                <a:lnTo>
                  <a:pt x="3349612" y="748944"/>
                </a:lnTo>
                <a:lnTo>
                  <a:pt x="3349612" y="109867"/>
                </a:lnTo>
                <a:lnTo>
                  <a:pt x="3283978" y="73342"/>
                </a:lnTo>
                <a:lnTo>
                  <a:pt x="3241852" y="54483"/>
                </a:lnTo>
                <a:lnTo>
                  <a:pt x="3198393" y="38252"/>
                </a:lnTo>
                <a:lnTo>
                  <a:pt x="3153714" y="24739"/>
                </a:lnTo>
                <a:lnTo>
                  <a:pt x="3107918" y="14071"/>
                </a:lnTo>
                <a:lnTo>
                  <a:pt x="3061093" y="6324"/>
                </a:lnTo>
                <a:lnTo>
                  <a:pt x="3013354" y="1600"/>
                </a:lnTo>
                <a:lnTo>
                  <a:pt x="2964777" y="0"/>
                </a:lnTo>
                <a:lnTo>
                  <a:pt x="2916199" y="1600"/>
                </a:lnTo>
                <a:lnTo>
                  <a:pt x="2868447" y="6324"/>
                </a:lnTo>
                <a:lnTo>
                  <a:pt x="2821622" y="14071"/>
                </a:lnTo>
                <a:lnTo>
                  <a:pt x="2775826" y="24739"/>
                </a:lnTo>
                <a:lnTo>
                  <a:pt x="2731147" y="38252"/>
                </a:lnTo>
                <a:lnTo>
                  <a:pt x="2687701" y="54483"/>
                </a:lnTo>
                <a:lnTo>
                  <a:pt x="2645562" y="73342"/>
                </a:lnTo>
                <a:lnTo>
                  <a:pt x="2604846" y="94729"/>
                </a:lnTo>
                <a:lnTo>
                  <a:pt x="2565654" y="118541"/>
                </a:lnTo>
                <a:lnTo>
                  <a:pt x="2528074" y="144691"/>
                </a:lnTo>
                <a:lnTo>
                  <a:pt x="2492197" y="173075"/>
                </a:lnTo>
                <a:lnTo>
                  <a:pt x="2458135" y="203593"/>
                </a:lnTo>
                <a:lnTo>
                  <a:pt x="2425992" y="236131"/>
                </a:lnTo>
                <a:lnTo>
                  <a:pt x="2395842" y="270611"/>
                </a:lnTo>
                <a:lnTo>
                  <a:pt x="2367800" y="306920"/>
                </a:lnTo>
                <a:lnTo>
                  <a:pt x="2341969" y="344957"/>
                </a:lnTo>
                <a:lnTo>
                  <a:pt x="2318435" y="384632"/>
                </a:lnTo>
                <a:lnTo>
                  <a:pt x="2297303" y="425843"/>
                </a:lnTo>
                <a:lnTo>
                  <a:pt x="2278672" y="468490"/>
                </a:lnTo>
                <a:lnTo>
                  <a:pt x="2262644" y="512483"/>
                </a:lnTo>
                <a:lnTo>
                  <a:pt x="2249297" y="557695"/>
                </a:lnTo>
                <a:lnTo>
                  <a:pt x="2238756" y="604050"/>
                </a:lnTo>
                <a:lnTo>
                  <a:pt x="2231098" y="651446"/>
                </a:lnTo>
                <a:lnTo>
                  <a:pt x="2226437" y="699782"/>
                </a:lnTo>
                <a:lnTo>
                  <a:pt x="2224862" y="748944"/>
                </a:lnTo>
                <a:lnTo>
                  <a:pt x="2226437" y="798118"/>
                </a:lnTo>
                <a:lnTo>
                  <a:pt x="2231098" y="846455"/>
                </a:lnTo>
                <a:lnTo>
                  <a:pt x="2238756" y="893851"/>
                </a:lnTo>
                <a:lnTo>
                  <a:pt x="2249297" y="940206"/>
                </a:lnTo>
                <a:lnTo>
                  <a:pt x="2262644" y="985418"/>
                </a:lnTo>
                <a:lnTo>
                  <a:pt x="2278672" y="1029411"/>
                </a:lnTo>
                <a:lnTo>
                  <a:pt x="2297303" y="1072057"/>
                </a:lnTo>
                <a:lnTo>
                  <a:pt x="2318435" y="1113269"/>
                </a:lnTo>
                <a:lnTo>
                  <a:pt x="2341969" y="1152944"/>
                </a:lnTo>
                <a:lnTo>
                  <a:pt x="2367800" y="1190980"/>
                </a:lnTo>
                <a:lnTo>
                  <a:pt x="2395842" y="1227289"/>
                </a:lnTo>
                <a:lnTo>
                  <a:pt x="2425992" y="1261770"/>
                </a:lnTo>
                <a:lnTo>
                  <a:pt x="2458135" y="1294320"/>
                </a:lnTo>
                <a:lnTo>
                  <a:pt x="2492197" y="1324825"/>
                </a:lnTo>
                <a:lnTo>
                  <a:pt x="2528074" y="1353210"/>
                </a:lnTo>
                <a:lnTo>
                  <a:pt x="2565654" y="1379359"/>
                </a:lnTo>
                <a:lnTo>
                  <a:pt x="2604846" y="1403172"/>
                </a:lnTo>
                <a:lnTo>
                  <a:pt x="2645562" y="1424571"/>
                </a:lnTo>
                <a:lnTo>
                  <a:pt x="2687701" y="1443431"/>
                </a:lnTo>
                <a:lnTo>
                  <a:pt x="2731147" y="1459661"/>
                </a:lnTo>
                <a:lnTo>
                  <a:pt x="2775826" y="1473161"/>
                </a:lnTo>
                <a:lnTo>
                  <a:pt x="2821622" y="1483842"/>
                </a:lnTo>
                <a:lnTo>
                  <a:pt x="2868447" y="1491589"/>
                </a:lnTo>
                <a:lnTo>
                  <a:pt x="2916199" y="1496314"/>
                </a:lnTo>
                <a:lnTo>
                  <a:pt x="2964777" y="1497901"/>
                </a:lnTo>
                <a:lnTo>
                  <a:pt x="3016872" y="1496072"/>
                </a:lnTo>
                <a:lnTo>
                  <a:pt x="3068015" y="1490637"/>
                </a:lnTo>
                <a:lnTo>
                  <a:pt x="3118066" y="1481747"/>
                </a:lnTo>
                <a:lnTo>
                  <a:pt x="3166910" y="1469504"/>
                </a:lnTo>
                <a:lnTo>
                  <a:pt x="3214433" y="1454035"/>
                </a:lnTo>
                <a:lnTo>
                  <a:pt x="3260509" y="1435468"/>
                </a:lnTo>
                <a:lnTo>
                  <a:pt x="3305010" y="1413929"/>
                </a:lnTo>
                <a:lnTo>
                  <a:pt x="3347834" y="1389532"/>
                </a:lnTo>
                <a:lnTo>
                  <a:pt x="3609721" y="1654619"/>
                </a:lnTo>
                <a:lnTo>
                  <a:pt x="3860812" y="1400467"/>
                </a:lnTo>
                <a:close/>
              </a:path>
            </a:pathLst>
          </a:custGeom>
          <a:solidFill>
            <a:srgbClr val="2C6CF6"/>
          </a:solidFill>
        </p:spPr>
        <p:txBody>
          <a:bodyPr wrap="square" lIns="0" tIns="0" rIns="0" bIns="0" rtlCol="0"/>
          <a:lstStyle/>
          <a:p>
            <a:endParaRPr dirty="0"/>
          </a:p>
        </p:txBody>
      </p:sp>
    </p:spTree>
    <p:extLst>
      <p:ext uri="{BB962C8B-B14F-4D97-AF65-F5344CB8AC3E}">
        <p14:creationId xmlns:p14="http://schemas.microsoft.com/office/powerpoint/2010/main" val="104935332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1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E9F2D90-E656-4316-0C33-82394E32134F}"/>
              </a:ext>
            </a:extLst>
          </p:cNvPr>
          <p:cNvSpPr/>
          <p:nvPr userDrawn="1"/>
        </p:nvSpPr>
        <p:spPr>
          <a:xfrm>
            <a:off x="0" y="0"/>
            <a:ext cx="598646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pic>
        <p:nvPicPr>
          <p:cNvPr id="2" name="Picture 1">
            <a:extLst>
              <a:ext uri="{FF2B5EF4-FFF2-40B4-BE49-F238E27FC236}">
                <a16:creationId xmlns:a16="http://schemas.microsoft.com/office/drawing/2014/main" id="{B910F51D-352B-C905-A1C7-DA5FF0BEB01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986463" y="0"/>
            <a:ext cx="6378628"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itle 1">
            <a:extLst>
              <a:ext uri="{FF2B5EF4-FFF2-40B4-BE49-F238E27FC236}">
                <a16:creationId xmlns:a16="http://schemas.microsoft.com/office/drawing/2014/main" id="{4E014DAA-9920-732B-0568-F5FD7497FF04}"/>
              </a:ext>
            </a:extLst>
          </p:cNvPr>
          <p:cNvSpPr txBox="1">
            <a:spLocks/>
          </p:cNvSpPr>
          <p:nvPr userDrawn="1"/>
        </p:nvSpPr>
        <p:spPr>
          <a:xfrm>
            <a:off x="288558" y="178971"/>
            <a:ext cx="5537253" cy="397352"/>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dirty="0"/>
              <a:t>Our Promise</a:t>
            </a:r>
          </a:p>
        </p:txBody>
      </p:sp>
      <p:sp>
        <p:nvSpPr>
          <p:cNvPr id="15" name="TextBox 14">
            <a:extLst>
              <a:ext uri="{FF2B5EF4-FFF2-40B4-BE49-F238E27FC236}">
                <a16:creationId xmlns:a16="http://schemas.microsoft.com/office/drawing/2014/main" id="{8362B672-ADDE-36D3-BCF2-CB74CDE616C2}"/>
              </a:ext>
            </a:extLst>
          </p:cNvPr>
          <p:cNvSpPr txBox="1"/>
          <p:nvPr userDrawn="1"/>
        </p:nvSpPr>
        <p:spPr>
          <a:xfrm>
            <a:off x="625766" y="2543471"/>
            <a:ext cx="4746333" cy="3405478"/>
          </a:xfrm>
          <a:prstGeom prst="rect">
            <a:avLst/>
          </a:prstGeom>
          <a:noFill/>
        </p:spPr>
        <p:txBody>
          <a:bodyPr wrap="square" lIns="0" rIns="0" rtlCol="0">
            <a:noAutofit/>
          </a:bodyPr>
          <a:lstStyle/>
          <a:p>
            <a:pPr algn="l">
              <a:spcAft>
                <a:spcPts val="600"/>
              </a:spcAft>
            </a:pPr>
            <a:r>
              <a:rPr lang="en-US" sz="3200" dirty="0">
                <a:solidFill>
                  <a:schemeClr val="bg1"/>
                </a:solidFill>
                <a:latin typeface="Georgia" panose="02040502050405020303" pitchFamily="18" charset="0"/>
              </a:rPr>
              <a:t>We deliver </a:t>
            </a:r>
            <a:r>
              <a:rPr lang="en-US" sz="3200" i="1" dirty="0">
                <a:solidFill>
                  <a:schemeClr val="bg1"/>
                </a:solidFill>
                <a:latin typeface="Georgia" panose="02040502050405020303" pitchFamily="18" charset="0"/>
              </a:rPr>
              <a:t>the Full View, </a:t>
            </a:r>
            <a:r>
              <a:rPr lang="en-US" sz="3200" dirty="0">
                <a:solidFill>
                  <a:schemeClr val="bg1"/>
                </a:solidFill>
                <a:latin typeface="Georgia" panose="02040502050405020303" pitchFamily="18" charset="0"/>
              </a:rPr>
              <a:t>the world’s most complete and clear understanding of consumer buying behavior that reveals new pathways to growth.</a:t>
            </a:r>
            <a:endParaRPr lang="en-US" sz="3200" i="1" dirty="0">
              <a:solidFill>
                <a:schemeClr val="bg1"/>
              </a:solidFill>
              <a:latin typeface="Georgia" panose="02040502050405020303" pitchFamily="18" charset="0"/>
            </a:endParaRPr>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
        <p:nvSpPr>
          <p:cNvPr id="19" name="Title 1">
            <a:extLst>
              <a:ext uri="{FF2B5EF4-FFF2-40B4-BE49-F238E27FC236}">
                <a16:creationId xmlns:a16="http://schemas.microsoft.com/office/drawing/2014/main" id="{C11D6095-173E-3995-DE39-0F11791773BF}"/>
              </a:ext>
            </a:extLst>
          </p:cNvPr>
          <p:cNvSpPr txBox="1">
            <a:spLocks/>
          </p:cNvSpPr>
          <p:nvPr userDrawn="1"/>
        </p:nvSpPr>
        <p:spPr>
          <a:xfrm>
            <a:off x="625766" y="1491251"/>
            <a:ext cx="5579773" cy="454504"/>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3200" b="1" dirty="0">
                <a:latin typeface="+mn-lt"/>
              </a:rPr>
              <a:t>The Full View</a:t>
            </a:r>
          </a:p>
        </p:txBody>
      </p:sp>
    </p:spTree>
    <p:extLst>
      <p:ext uri="{BB962C8B-B14F-4D97-AF65-F5344CB8AC3E}">
        <p14:creationId xmlns:p14="http://schemas.microsoft.com/office/powerpoint/2010/main" val="207582916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10" name="TextBox 9">
            <a:extLst>
              <a:ext uri="{FF2B5EF4-FFF2-40B4-BE49-F238E27FC236}">
                <a16:creationId xmlns:a16="http://schemas.microsoft.com/office/drawing/2014/main" id="{19C478FA-FA6E-05DF-854B-5D984ACB62F4}"/>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10827543"/>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2_divider_deep_violet">
    <p:bg>
      <p:bgPr>
        <a:solidFill>
          <a:schemeClr val="accent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10F51D-352B-C905-A1C7-DA5FF0BEB013}"/>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1" name="TextBox 10">
            <a:extLst>
              <a:ext uri="{FF2B5EF4-FFF2-40B4-BE49-F238E27FC236}">
                <a16:creationId xmlns:a16="http://schemas.microsoft.com/office/drawing/2014/main" id="{A95F480C-FC30-02D7-7634-A388073219ED}"/>
              </a:ext>
            </a:extLst>
          </p:cNvPr>
          <p:cNvSpPr txBox="1"/>
          <p:nvPr userDrawn="1"/>
        </p:nvSpPr>
        <p:spPr>
          <a:xfrm>
            <a:off x="1435130" y="576349"/>
            <a:ext cx="9321740" cy="1347506"/>
          </a:xfrm>
          <a:prstGeom prst="rect">
            <a:avLst/>
          </a:prstGeom>
          <a:noFill/>
        </p:spPr>
        <p:txBody>
          <a:bodyPr wrap="square" lIns="0" rIns="0" rtlCol="0" anchor="b">
            <a:noAutofit/>
          </a:bodyPr>
          <a:lstStyle/>
          <a:p>
            <a:pPr algn="ctr">
              <a:spcAft>
                <a:spcPts val="600"/>
              </a:spcAft>
            </a:pPr>
            <a:r>
              <a:rPr lang="en-US" sz="4400" dirty="0">
                <a:solidFill>
                  <a:schemeClr val="bg1"/>
                </a:solidFill>
                <a:latin typeface="Georgia" panose="02040502050405020303" pitchFamily="18" charset="0"/>
              </a:rPr>
              <a:t>We deliver understanding and insights that make up </a:t>
            </a:r>
            <a:r>
              <a:rPr lang="en-US" sz="4400" i="1" dirty="0">
                <a:solidFill>
                  <a:schemeClr val="bg1"/>
                </a:solidFill>
                <a:latin typeface="Georgia" panose="02040502050405020303" pitchFamily="18" charset="0"/>
              </a:rPr>
              <a:t>the Full View.</a:t>
            </a:r>
          </a:p>
        </p:txBody>
      </p:sp>
      <p:sp>
        <p:nvSpPr>
          <p:cNvPr id="4" name="Oval 3">
            <a:extLst>
              <a:ext uri="{FF2B5EF4-FFF2-40B4-BE49-F238E27FC236}">
                <a16:creationId xmlns:a16="http://schemas.microsoft.com/office/drawing/2014/main" id="{7390E90A-1C55-2F39-D5E3-35904BA2DBD4}"/>
              </a:ext>
            </a:extLst>
          </p:cNvPr>
          <p:cNvSpPr/>
          <p:nvPr userDrawn="1"/>
        </p:nvSpPr>
        <p:spPr>
          <a:xfrm flipH="1">
            <a:off x="1669572" y="2450510"/>
            <a:ext cx="2594219" cy="25942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15" name="TextBox 14">
            <a:extLst>
              <a:ext uri="{FF2B5EF4-FFF2-40B4-BE49-F238E27FC236}">
                <a16:creationId xmlns:a16="http://schemas.microsoft.com/office/drawing/2014/main" id="{A2EBBA9A-4867-0092-B6E8-A1B0DD2EAE06}"/>
              </a:ext>
            </a:extLst>
          </p:cNvPr>
          <p:cNvSpPr txBox="1"/>
          <p:nvPr userDrawn="1"/>
        </p:nvSpPr>
        <p:spPr>
          <a:xfrm>
            <a:off x="1944246" y="2934430"/>
            <a:ext cx="2044870" cy="1354217"/>
          </a:xfrm>
          <a:prstGeom prst="rect">
            <a:avLst/>
          </a:prstGeom>
          <a:noFill/>
        </p:spPr>
        <p:txBody>
          <a:bodyPr wrap="square">
            <a:spAutoFit/>
          </a:bodyPr>
          <a:lstStyle/>
          <a:p>
            <a:pPr algn="ctr"/>
            <a:r>
              <a:rPr lang="en-US" sz="1600" b="1" dirty="0">
                <a:solidFill>
                  <a:schemeClr val="bg1"/>
                </a:solidFill>
                <a:latin typeface="+mn-lt"/>
              </a:rPr>
              <a:t>WHAT IS HAPPENING</a:t>
            </a:r>
          </a:p>
          <a:p>
            <a:pPr algn="ctr"/>
            <a:endParaRPr lang="en-US" sz="1400" b="0" dirty="0">
              <a:solidFill>
                <a:schemeClr val="bg1"/>
              </a:solidFill>
              <a:latin typeface="+mn-lt"/>
            </a:endParaRPr>
          </a:p>
          <a:p>
            <a:pPr algn="ctr"/>
            <a:r>
              <a:rPr lang="en-US" sz="1800" b="0" i="1" dirty="0">
                <a:solidFill>
                  <a:schemeClr val="bg1"/>
                </a:solidFill>
                <a:latin typeface="Georgia" panose="02040502050405020303" pitchFamily="18" charset="0"/>
              </a:rPr>
              <a:t>What consumers do and buy</a:t>
            </a:r>
          </a:p>
        </p:txBody>
      </p:sp>
      <p:sp>
        <p:nvSpPr>
          <p:cNvPr id="16" name="Oval 15">
            <a:extLst>
              <a:ext uri="{FF2B5EF4-FFF2-40B4-BE49-F238E27FC236}">
                <a16:creationId xmlns:a16="http://schemas.microsoft.com/office/drawing/2014/main" id="{D7CB995D-3B74-1019-15E4-522A1E7C3B8D}"/>
              </a:ext>
            </a:extLst>
          </p:cNvPr>
          <p:cNvSpPr/>
          <p:nvPr userDrawn="1"/>
        </p:nvSpPr>
        <p:spPr>
          <a:xfrm flipH="1">
            <a:off x="4774722" y="2450510"/>
            <a:ext cx="2594219" cy="259421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17" name="TextBox 16">
            <a:extLst>
              <a:ext uri="{FF2B5EF4-FFF2-40B4-BE49-F238E27FC236}">
                <a16:creationId xmlns:a16="http://schemas.microsoft.com/office/drawing/2014/main" id="{042AC29B-5F01-6FF8-D376-265E64E548C4}"/>
              </a:ext>
            </a:extLst>
          </p:cNvPr>
          <p:cNvSpPr txBox="1"/>
          <p:nvPr userDrawn="1"/>
        </p:nvSpPr>
        <p:spPr>
          <a:xfrm>
            <a:off x="5049396" y="2934430"/>
            <a:ext cx="2044870" cy="1354217"/>
          </a:xfrm>
          <a:prstGeom prst="rect">
            <a:avLst/>
          </a:prstGeom>
          <a:noFill/>
        </p:spPr>
        <p:txBody>
          <a:bodyPr wrap="square">
            <a:spAutoFit/>
          </a:bodyPr>
          <a:lstStyle/>
          <a:p>
            <a:pPr algn="ctr"/>
            <a:r>
              <a:rPr lang="en-US" sz="1600" b="1" dirty="0">
                <a:solidFill>
                  <a:schemeClr val="bg1"/>
                </a:solidFill>
                <a:latin typeface="+mn-lt"/>
              </a:rPr>
              <a:t>WHY IT’S HAPPENING</a:t>
            </a:r>
          </a:p>
          <a:p>
            <a:pPr algn="ctr"/>
            <a:endParaRPr lang="en-US" sz="1400" b="0" dirty="0">
              <a:solidFill>
                <a:schemeClr val="bg1"/>
              </a:solidFill>
              <a:latin typeface="+mn-lt"/>
            </a:endParaRPr>
          </a:p>
          <a:p>
            <a:pPr algn="ctr"/>
            <a:r>
              <a:rPr lang="en-US" sz="1800" b="0" i="1" dirty="0">
                <a:solidFill>
                  <a:schemeClr val="bg1"/>
                </a:solidFill>
                <a:latin typeface="Georgia" panose="02040502050405020303" pitchFamily="18" charset="0"/>
              </a:rPr>
              <a:t>What consumers think and feel</a:t>
            </a:r>
          </a:p>
        </p:txBody>
      </p:sp>
      <p:sp>
        <p:nvSpPr>
          <p:cNvPr id="18" name="Oval 17">
            <a:extLst>
              <a:ext uri="{FF2B5EF4-FFF2-40B4-BE49-F238E27FC236}">
                <a16:creationId xmlns:a16="http://schemas.microsoft.com/office/drawing/2014/main" id="{9FAA87F8-7976-BE65-90CA-ED62F0B34A2A}"/>
              </a:ext>
            </a:extLst>
          </p:cNvPr>
          <p:cNvSpPr/>
          <p:nvPr userDrawn="1"/>
        </p:nvSpPr>
        <p:spPr>
          <a:xfrm flipH="1">
            <a:off x="7917972" y="2450510"/>
            <a:ext cx="2594219" cy="25942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19" name="TextBox 18">
            <a:extLst>
              <a:ext uri="{FF2B5EF4-FFF2-40B4-BE49-F238E27FC236}">
                <a16:creationId xmlns:a16="http://schemas.microsoft.com/office/drawing/2014/main" id="{FAEF9EBB-877C-F07C-438E-EAF8A3DC38F8}"/>
              </a:ext>
            </a:extLst>
          </p:cNvPr>
          <p:cNvSpPr txBox="1"/>
          <p:nvPr userDrawn="1"/>
        </p:nvSpPr>
        <p:spPr>
          <a:xfrm>
            <a:off x="8192646" y="2934430"/>
            <a:ext cx="2044870" cy="1631216"/>
          </a:xfrm>
          <a:prstGeom prst="rect">
            <a:avLst/>
          </a:prstGeom>
          <a:noFill/>
        </p:spPr>
        <p:txBody>
          <a:bodyPr wrap="square">
            <a:spAutoFit/>
          </a:bodyPr>
          <a:lstStyle/>
          <a:p>
            <a:pPr algn="ctr"/>
            <a:r>
              <a:rPr lang="en-US" sz="1600" b="1" dirty="0">
                <a:solidFill>
                  <a:schemeClr val="bg1"/>
                </a:solidFill>
                <a:latin typeface="+mn-lt"/>
              </a:rPr>
              <a:t>WHAT TO DO ABOUT IT</a:t>
            </a:r>
          </a:p>
          <a:p>
            <a:pPr algn="ctr"/>
            <a:endParaRPr lang="en-US" sz="1400" b="0" dirty="0">
              <a:solidFill>
                <a:schemeClr val="bg1"/>
              </a:solidFill>
              <a:latin typeface="+mn-lt"/>
            </a:endParaRPr>
          </a:p>
          <a:p>
            <a:pPr algn="ctr"/>
            <a:r>
              <a:rPr lang="en-US" sz="1800" b="0" i="1" dirty="0">
                <a:solidFill>
                  <a:schemeClr val="bg1"/>
                </a:solidFill>
                <a:latin typeface="Georgia" panose="02040502050405020303" pitchFamily="18" charset="0"/>
              </a:rPr>
              <a:t>How to capitalize on opportunities &amp; mitigate risks</a:t>
            </a:r>
          </a:p>
        </p:txBody>
      </p:sp>
    </p:spTree>
    <p:extLst>
      <p:ext uri="{BB962C8B-B14F-4D97-AF65-F5344CB8AC3E}">
        <p14:creationId xmlns:p14="http://schemas.microsoft.com/office/powerpoint/2010/main" val="2505637556"/>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grpSp>
        <p:nvGrpSpPr>
          <p:cNvPr id="2" name="Group 1">
            <a:extLst>
              <a:ext uri="{FF2B5EF4-FFF2-40B4-BE49-F238E27FC236}">
                <a16:creationId xmlns:a16="http://schemas.microsoft.com/office/drawing/2014/main" id="{56801D15-58D8-60CC-18D0-94AF8E68CB2A}"/>
              </a:ext>
            </a:extLst>
          </p:cNvPr>
          <p:cNvGrpSpPr/>
          <p:nvPr userDrawn="1"/>
        </p:nvGrpSpPr>
        <p:grpSpPr>
          <a:xfrm>
            <a:off x="625767" y="1429408"/>
            <a:ext cx="4608378" cy="3195140"/>
            <a:chOff x="289443" y="1429408"/>
            <a:chExt cx="4608378" cy="3195140"/>
          </a:xfrm>
        </p:grpSpPr>
        <p:sp>
          <p:nvSpPr>
            <p:cNvPr id="15" name="TextBox 14">
              <a:extLst>
                <a:ext uri="{FF2B5EF4-FFF2-40B4-BE49-F238E27FC236}">
                  <a16:creationId xmlns:a16="http://schemas.microsoft.com/office/drawing/2014/main" id="{8362B672-ADDE-36D3-BCF2-CB74CDE616C2}"/>
                </a:ext>
              </a:extLst>
            </p:cNvPr>
            <p:cNvSpPr txBox="1"/>
            <p:nvPr userDrawn="1"/>
          </p:nvSpPr>
          <p:spPr>
            <a:xfrm>
              <a:off x="289443" y="2596021"/>
              <a:ext cx="4608378" cy="2028527"/>
            </a:xfrm>
            <a:prstGeom prst="rect">
              <a:avLst/>
            </a:prstGeom>
            <a:noFill/>
          </p:spPr>
          <p:txBody>
            <a:bodyPr wrap="square" lIns="0" rIns="0" rtlCol="0">
              <a:noAutofit/>
            </a:bodyPr>
            <a:lstStyle/>
            <a:p>
              <a:pPr algn="l">
                <a:spcAft>
                  <a:spcPts val="600"/>
                </a:spcAft>
              </a:pPr>
              <a:r>
                <a:rPr lang="en-US" sz="2800" dirty="0">
                  <a:solidFill>
                    <a:schemeClr val="tx1"/>
                  </a:solidFill>
                  <a:latin typeface="Georgia" panose="02040502050405020303" pitchFamily="18" charset="0"/>
                </a:rPr>
                <a:t>It is </a:t>
              </a:r>
              <a:r>
                <a:rPr lang="en-US" sz="2800" i="1" dirty="0">
                  <a:solidFill>
                    <a:schemeClr val="tx1"/>
                  </a:solidFill>
                  <a:latin typeface="Georgia" panose="02040502050405020303" pitchFamily="18" charset="0"/>
                </a:rPr>
                <a:t>more complete</a:t>
              </a:r>
              <a:r>
                <a:rPr lang="en-US" sz="2800" dirty="0">
                  <a:solidFill>
                    <a:schemeClr val="tx1"/>
                  </a:solidFill>
                  <a:latin typeface="Georgia" panose="02040502050405020303" pitchFamily="18" charset="0"/>
                </a:rPr>
                <a:t> because it is informed by more data from more channels, more sources, more consumers, and more countries and regions.</a:t>
              </a:r>
              <a:endParaRPr lang="en-US" sz="2800" i="1" dirty="0">
                <a:solidFill>
                  <a:schemeClr val="tx1"/>
                </a:solidFill>
                <a:latin typeface="Georgia" panose="02040502050405020303" pitchFamily="18" charset="0"/>
              </a:endParaRPr>
            </a:p>
          </p:txBody>
        </p:sp>
        <p:sp>
          <p:nvSpPr>
            <p:cNvPr id="19" name="Title 1">
              <a:extLst>
                <a:ext uri="{FF2B5EF4-FFF2-40B4-BE49-F238E27FC236}">
                  <a16:creationId xmlns:a16="http://schemas.microsoft.com/office/drawing/2014/main" id="{C11D6095-173E-3995-DE39-0F11791773BF}"/>
                </a:ext>
              </a:extLst>
            </p:cNvPr>
            <p:cNvSpPr txBox="1">
              <a:spLocks/>
            </p:cNvSpPr>
            <p:nvPr userDrawn="1"/>
          </p:nvSpPr>
          <p:spPr>
            <a:xfrm>
              <a:off x="289443" y="1429408"/>
              <a:ext cx="4608378"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tx2"/>
                  </a:solidFill>
                  <a:latin typeface="+mn-lt"/>
                </a:rPr>
                <a:t>The understanding we deliver is: </a:t>
              </a:r>
              <a:r>
                <a:rPr lang="en-US" sz="2800" b="1" dirty="0">
                  <a:solidFill>
                    <a:schemeClr val="tx2"/>
                  </a:solidFill>
                  <a:latin typeface="+mn-lt"/>
                </a:rPr>
                <a:t>More Complete</a:t>
              </a:r>
            </a:p>
          </p:txBody>
        </p:sp>
      </p:grpSp>
      <p:grpSp>
        <p:nvGrpSpPr>
          <p:cNvPr id="5" name="Group 4">
            <a:extLst>
              <a:ext uri="{FF2B5EF4-FFF2-40B4-BE49-F238E27FC236}">
                <a16:creationId xmlns:a16="http://schemas.microsoft.com/office/drawing/2014/main" id="{C10A41BA-D899-1DFD-C46E-D4674B0BCA30}"/>
              </a:ext>
            </a:extLst>
          </p:cNvPr>
          <p:cNvGrpSpPr/>
          <p:nvPr userDrawn="1"/>
        </p:nvGrpSpPr>
        <p:grpSpPr>
          <a:xfrm>
            <a:off x="6758148" y="1429408"/>
            <a:ext cx="4435366" cy="3195140"/>
            <a:chOff x="6600495" y="1429408"/>
            <a:chExt cx="4435366" cy="3195140"/>
          </a:xfrm>
        </p:grpSpPr>
        <p:sp>
          <p:nvSpPr>
            <p:cNvPr id="14" name="Title 1">
              <a:extLst>
                <a:ext uri="{FF2B5EF4-FFF2-40B4-BE49-F238E27FC236}">
                  <a16:creationId xmlns:a16="http://schemas.microsoft.com/office/drawing/2014/main" id="{C0F7D800-242C-6347-A99B-3CAC362C08CE}"/>
                </a:ext>
              </a:extLst>
            </p:cNvPr>
            <p:cNvSpPr txBox="1">
              <a:spLocks/>
            </p:cNvSpPr>
            <p:nvPr userDrawn="1"/>
          </p:nvSpPr>
          <p:spPr>
            <a:xfrm>
              <a:off x="6600495" y="1429408"/>
              <a:ext cx="4435366"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bg2"/>
                  </a:solidFill>
                  <a:latin typeface="+mn-lt"/>
                </a:rPr>
                <a:t>The understanding we deliver is: </a:t>
              </a:r>
              <a:r>
                <a:rPr lang="en-US" sz="2800" b="1" dirty="0">
                  <a:solidFill>
                    <a:schemeClr val="bg2"/>
                  </a:solidFill>
                  <a:latin typeface="+mn-lt"/>
                </a:rPr>
                <a:t>More Clear</a:t>
              </a:r>
            </a:p>
          </p:txBody>
        </p:sp>
        <p:sp>
          <p:nvSpPr>
            <p:cNvPr id="18" name="TextBox 17">
              <a:extLst>
                <a:ext uri="{FF2B5EF4-FFF2-40B4-BE49-F238E27FC236}">
                  <a16:creationId xmlns:a16="http://schemas.microsoft.com/office/drawing/2014/main" id="{33F932A7-9F83-580A-A0F1-895198573676}"/>
                </a:ext>
              </a:extLst>
            </p:cNvPr>
            <p:cNvSpPr txBox="1"/>
            <p:nvPr userDrawn="1"/>
          </p:nvSpPr>
          <p:spPr>
            <a:xfrm>
              <a:off x="6600495" y="2596021"/>
              <a:ext cx="4025466" cy="2028527"/>
            </a:xfrm>
            <a:prstGeom prst="rect">
              <a:avLst/>
            </a:prstGeom>
            <a:noFill/>
          </p:spPr>
          <p:txBody>
            <a:bodyPr wrap="square" lIns="0" rIns="0" rtlCol="0">
              <a:noAutofit/>
            </a:bodyPr>
            <a:lstStyle/>
            <a:p>
              <a:pPr algn="l">
                <a:spcAft>
                  <a:spcPts val="600"/>
                </a:spcAft>
              </a:pPr>
              <a:r>
                <a:rPr lang="en-US" sz="2800" dirty="0">
                  <a:solidFill>
                    <a:schemeClr val="tx1"/>
                  </a:solidFill>
                  <a:latin typeface="Georgia" panose="02040502050405020303" pitchFamily="18" charset="0"/>
                </a:rPr>
                <a:t>It is </a:t>
              </a:r>
              <a:r>
                <a:rPr lang="en-US" sz="2800" i="1" dirty="0">
                  <a:solidFill>
                    <a:schemeClr val="tx1"/>
                  </a:solidFill>
                  <a:latin typeface="Georgia" panose="02040502050405020303" pitchFamily="18" charset="0"/>
                </a:rPr>
                <a:t>more clear </a:t>
              </a:r>
              <a:r>
                <a:rPr lang="en-US" sz="2800" dirty="0">
                  <a:solidFill>
                    <a:schemeClr val="tx1"/>
                  </a:solidFill>
                  <a:latin typeface="Georgia" panose="02040502050405020303" pitchFamily="18" charset="0"/>
                </a:rPr>
                <a:t>because it is shaped into more understandable and actionable insights through an advanced platform with integrated analytics.</a:t>
              </a:r>
              <a:endParaRPr lang="en-US" sz="2800" i="1" dirty="0">
                <a:solidFill>
                  <a:schemeClr val="tx1"/>
                </a:solidFill>
                <a:latin typeface="Georgia" panose="02040502050405020303" pitchFamily="18" charset="0"/>
              </a:endParaRPr>
            </a:p>
          </p:txBody>
        </p:sp>
      </p:grpSp>
    </p:spTree>
    <p:extLst>
      <p:ext uri="{BB962C8B-B14F-4D97-AF65-F5344CB8AC3E}">
        <p14:creationId xmlns:p14="http://schemas.microsoft.com/office/powerpoint/2010/main" val="1242993524"/>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4_divider_deep_violet">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C22CB1-3C2D-8000-377A-1D9A12EEA742}"/>
              </a:ext>
            </a:extLst>
          </p:cNvPr>
          <p:cNvSpPr/>
          <p:nvPr userDrawn="1"/>
        </p:nvSpPr>
        <p:spPr>
          <a:xfrm>
            <a:off x="278932" y="140017"/>
            <a:ext cx="8871554" cy="290337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rgbClr val="B3B3B3"/>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rgbClr val="B3B3B3"/>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3" name="TextBox 2">
            <a:extLst>
              <a:ext uri="{FF2B5EF4-FFF2-40B4-BE49-F238E27FC236}">
                <a16:creationId xmlns:a16="http://schemas.microsoft.com/office/drawing/2014/main" id="{78494A49-4E28-F858-29AE-59569FD49FF3}"/>
              </a:ext>
            </a:extLst>
          </p:cNvPr>
          <p:cNvSpPr txBox="1"/>
          <p:nvPr userDrawn="1"/>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itle 1">
            <a:extLst>
              <a:ext uri="{FF2B5EF4-FFF2-40B4-BE49-F238E27FC236}">
                <a16:creationId xmlns:a16="http://schemas.microsoft.com/office/drawing/2014/main" id="{4E014DAA-9920-732B-0568-F5FD7497FF04}"/>
              </a:ext>
            </a:extLst>
          </p:cNvPr>
          <p:cNvSpPr txBox="1">
            <a:spLocks/>
          </p:cNvSpPr>
          <p:nvPr userDrawn="1"/>
        </p:nvSpPr>
        <p:spPr>
          <a:xfrm>
            <a:off x="278932" y="318988"/>
            <a:ext cx="8871554" cy="397352"/>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pPr algn="ctr"/>
            <a:r>
              <a:rPr lang="en-US" sz="3200" dirty="0">
                <a:solidFill>
                  <a:schemeClr val="bg1"/>
                </a:solidFill>
              </a:rPr>
              <a:t>The Full View</a:t>
            </a:r>
            <a:r>
              <a:rPr lang="en-US" sz="3200" baseline="30000" dirty="0">
                <a:solidFill>
                  <a:schemeClr val="bg1"/>
                </a:solidFill>
              </a:rPr>
              <a:t>™</a:t>
            </a:r>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
        <p:nvSpPr>
          <p:cNvPr id="19" name="Title 1">
            <a:extLst>
              <a:ext uri="{FF2B5EF4-FFF2-40B4-BE49-F238E27FC236}">
                <a16:creationId xmlns:a16="http://schemas.microsoft.com/office/drawing/2014/main" id="{C11D6095-173E-3995-DE39-0F11791773BF}"/>
              </a:ext>
            </a:extLst>
          </p:cNvPr>
          <p:cNvSpPr txBox="1">
            <a:spLocks/>
          </p:cNvSpPr>
          <p:nvPr userDrawn="1"/>
        </p:nvSpPr>
        <p:spPr>
          <a:xfrm>
            <a:off x="278932" y="708641"/>
            <a:ext cx="8848413" cy="454504"/>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pPr algn="ctr"/>
            <a:r>
              <a:rPr lang="en-US" sz="2000" b="0" dirty="0">
                <a:solidFill>
                  <a:schemeClr val="bg1"/>
                </a:solidFill>
                <a:latin typeface="+mn-lt"/>
              </a:rPr>
              <a:t>Consumer understanding and actionable insights </a:t>
            </a:r>
          </a:p>
        </p:txBody>
      </p:sp>
      <p:sp>
        <p:nvSpPr>
          <p:cNvPr id="4" name="TextBox 3">
            <a:extLst>
              <a:ext uri="{FF2B5EF4-FFF2-40B4-BE49-F238E27FC236}">
                <a16:creationId xmlns:a16="http://schemas.microsoft.com/office/drawing/2014/main" id="{A4FF3F76-5F58-85B3-5531-CBCFE16B4D21}"/>
              </a:ext>
            </a:extLst>
          </p:cNvPr>
          <p:cNvSpPr txBox="1"/>
          <p:nvPr userDrawn="1"/>
        </p:nvSpPr>
        <p:spPr>
          <a:xfrm>
            <a:off x="631035" y="1374127"/>
            <a:ext cx="3692228" cy="1753194"/>
          </a:xfrm>
          <a:prstGeom prst="rect">
            <a:avLst/>
          </a:prstGeom>
          <a:noFill/>
        </p:spPr>
        <p:txBody>
          <a:bodyPr wrap="square" lIns="0" rIns="0" rtlCol="0">
            <a:noAutofit/>
          </a:bodyPr>
          <a:lstStyle/>
          <a:p>
            <a:pPr algn="l">
              <a:spcAft>
                <a:spcPts val="600"/>
              </a:spcAft>
            </a:pPr>
            <a:r>
              <a:rPr lang="en-US" sz="1600" b="1" i="0" dirty="0">
                <a:solidFill>
                  <a:schemeClr val="bg1"/>
                </a:solidFill>
                <a:latin typeface="+mj-lt"/>
              </a:rPr>
              <a:t>The most complete understanding: </a:t>
            </a:r>
            <a:br>
              <a:rPr lang="en-US" sz="1600" b="1" i="0" dirty="0">
                <a:solidFill>
                  <a:schemeClr val="bg1"/>
                </a:solidFill>
                <a:latin typeface="+mj-lt"/>
              </a:rPr>
            </a:br>
            <a:r>
              <a:rPr lang="en-US" sz="1600" i="0" dirty="0">
                <a:solidFill>
                  <a:schemeClr val="bg1"/>
                </a:solidFill>
                <a:latin typeface="Georgia" panose="02040502050405020303" pitchFamily="18" charset="0"/>
              </a:rPr>
              <a:t>Far more than just a report of purchases, the Full View also provides insights on what consumers think and feel.</a:t>
            </a:r>
          </a:p>
        </p:txBody>
      </p:sp>
      <p:sp>
        <p:nvSpPr>
          <p:cNvPr id="5" name="TextBox 4">
            <a:extLst>
              <a:ext uri="{FF2B5EF4-FFF2-40B4-BE49-F238E27FC236}">
                <a16:creationId xmlns:a16="http://schemas.microsoft.com/office/drawing/2014/main" id="{88FF996A-6E7C-5B7B-0B6C-D6719A9EE0A4}"/>
              </a:ext>
            </a:extLst>
          </p:cNvPr>
          <p:cNvSpPr txBox="1"/>
          <p:nvPr userDrawn="1"/>
        </p:nvSpPr>
        <p:spPr>
          <a:xfrm>
            <a:off x="4957052" y="1374125"/>
            <a:ext cx="3567667" cy="1546195"/>
          </a:xfrm>
          <a:prstGeom prst="rect">
            <a:avLst/>
          </a:prstGeom>
          <a:noFill/>
        </p:spPr>
        <p:txBody>
          <a:bodyPr wrap="square" lIns="0" rIns="0" rtlCol="0">
            <a:noAutofit/>
          </a:bodyPr>
          <a:lstStyle/>
          <a:p>
            <a:pPr algn="l">
              <a:spcAft>
                <a:spcPts val="600"/>
              </a:spcAft>
            </a:pPr>
            <a:r>
              <a:rPr lang="en-US" sz="1600" b="1" dirty="0">
                <a:solidFill>
                  <a:schemeClr val="bg1"/>
                </a:solidFill>
                <a:latin typeface="+mj-lt"/>
              </a:rPr>
              <a:t>The most clear understanding: </a:t>
            </a:r>
            <a:r>
              <a:rPr lang="en-US" sz="1600" dirty="0">
                <a:solidFill>
                  <a:schemeClr val="bg1"/>
                </a:solidFill>
                <a:latin typeface="Georgia" panose="02040502050405020303" pitchFamily="18" charset="0"/>
              </a:rPr>
              <a:t>Actionable insights delivered in a more straightforward way through an advanced platform with integrated analytics. </a:t>
            </a:r>
            <a:endParaRPr lang="en-US" sz="1600" i="1" dirty="0">
              <a:solidFill>
                <a:schemeClr val="bg1"/>
              </a:solidFill>
              <a:latin typeface="Georgia" panose="02040502050405020303" pitchFamily="18" charset="0"/>
            </a:endParaRPr>
          </a:p>
        </p:txBody>
      </p:sp>
      <p:sp>
        <p:nvSpPr>
          <p:cNvPr id="22" name="Rectangle 21">
            <a:extLst>
              <a:ext uri="{FF2B5EF4-FFF2-40B4-BE49-F238E27FC236}">
                <a16:creationId xmlns:a16="http://schemas.microsoft.com/office/drawing/2014/main" id="{294598B7-2798-1A68-C6C0-2F829EC9BCFD}"/>
              </a:ext>
            </a:extLst>
          </p:cNvPr>
          <p:cNvSpPr/>
          <p:nvPr userDrawn="1"/>
        </p:nvSpPr>
        <p:spPr>
          <a:xfrm>
            <a:off x="278932" y="3043396"/>
            <a:ext cx="8871554" cy="2219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35" name="Oval 34">
            <a:extLst>
              <a:ext uri="{FF2B5EF4-FFF2-40B4-BE49-F238E27FC236}">
                <a16:creationId xmlns:a16="http://schemas.microsoft.com/office/drawing/2014/main" id="{48E71FA6-4B2D-05ED-DB07-886B8B631F2E}"/>
              </a:ext>
            </a:extLst>
          </p:cNvPr>
          <p:cNvSpPr/>
          <p:nvPr userDrawn="1"/>
        </p:nvSpPr>
        <p:spPr>
          <a:xfrm flipH="1">
            <a:off x="878773" y="3219195"/>
            <a:ext cx="1829169" cy="1829169"/>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36" name="TextBox 35">
            <a:extLst>
              <a:ext uri="{FF2B5EF4-FFF2-40B4-BE49-F238E27FC236}">
                <a16:creationId xmlns:a16="http://schemas.microsoft.com/office/drawing/2014/main" id="{3EBD1427-4003-59E6-C9C7-83A0D834A88E}"/>
              </a:ext>
            </a:extLst>
          </p:cNvPr>
          <p:cNvSpPr txBox="1"/>
          <p:nvPr userDrawn="1"/>
        </p:nvSpPr>
        <p:spPr>
          <a:xfrm>
            <a:off x="934780" y="3464312"/>
            <a:ext cx="1686713" cy="1115690"/>
          </a:xfrm>
          <a:prstGeom prst="rect">
            <a:avLst/>
          </a:prstGeom>
          <a:noFill/>
        </p:spPr>
        <p:txBody>
          <a:bodyPr wrap="square">
            <a:spAutoFit/>
          </a:bodyPr>
          <a:lstStyle/>
          <a:p>
            <a:pPr algn="ctr"/>
            <a:r>
              <a:rPr lang="en-US" sz="1400" b="1" dirty="0">
                <a:solidFill>
                  <a:schemeClr val="bg1"/>
                </a:solidFill>
                <a:latin typeface="+mn-lt"/>
              </a:rPr>
              <a:t>WHAT IS HAPPENING</a:t>
            </a:r>
          </a:p>
          <a:p>
            <a:pPr algn="ctr"/>
            <a:endParaRPr lang="en-US" sz="1050" b="0" dirty="0">
              <a:solidFill>
                <a:schemeClr val="bg1"/>
              </a:solidFill>
              <a:latin typeface="+mn-lt"/>
            </a:endParaRPr>
          </a:p>
          <a:p>
            <a:pPr algn="ctr"/>
            <a:r>
              <a:rPr lang="en-US" sz="1400" b="0" i="1" dirty="0">
                <a:solidFill>
                  <a:schemeClr val="bg1"/>
                </a:solidFill>
                <a:latin typeface="Georgia" panose="02040502050405020303" pitchFamily="18" charset="0"/>
              </a:rPr>
              <a:t>What consumers do and buy</a:t>
            </a:r>
          </a:p>
        </p:txBody>
      </p:sp>
      <p:sp>
        <p:nvSpPr>
          <p:cNvPr id="37" name="Oval 36">
            <a:extLst>
              <a:ext uri="{FF2B5EF4-FFF2-40B4-BE49-F238E27FC236}">
                <a16:creationId xmlns:a16="http://schemas.microsoft.com/office/drawing/2014/main" id="{CAB8284F-317D-4AD8-AAB1-B96F0EF1B703}"/>
              </a:ext>
            </a:extLst>
          </p:cNvPr>
          <p:cNvSpPr/>
          <p:nvPr userDrawn="1"/>
        </p:nvSpPr>
        <p:spPr>
          <a:xfrm flipH="1">
            <a:off x="3653083" y="3219195"/>
            <a:ext cx="1829169" cy="1829169"/>
          </a:xfrm>
          <a:prstGeom prst="ellipse">
            <a:avLst/>
          </a:prstGeom>
          <a:noFill/>
          <a:ln w="19050">
            <a:solidFill>
              <a:schemeClr val="bg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38" name="TextBox 37">
            <a:extLst>
              <a:ext uri="{FF2B5EF4-FFF2-40B4-BE49-F238E27FC236}">
                <a16:creationId xmlns:a16="http://schemas.microsoft.com/office/drawing/2014/main" id="{6F869526-7F63-A95F-41B6-37AD5A4A28DE}"/>
              </a:ext>
            </a:extLst>
          </p:cNvPr>
          <p:cNvSpPr txBox="1"/>
          <p:nvPr userDrawn="1"/>
        </p:nvSpPr>
        <p:spPr>
          <a:xfrm>
            <a:off x="3749918" y="3459229"/>
            <a:ext cx="1635498" cy="1107996"/>
          </a:xfrm>
          <a:prstGeom prst="rect">
            <a:avLst/>
          </a:prstGeom>
          <a:noFill/>
        </p:spPr>
        <p:txBody>
          <a:bodyPr wrap="square">
            <a:spAutoFit/>
          </a:bodyPr>
          <a:lstStyle/>
          <a:p>
            <a:pPr algn="ctr"/>
            <a:r>
              <a:rPr lang="en-US" sz="1400" b="1" dirty="0">
                <a:solidFill>
                  <a:schemeClr val="bg1"/>
                </a:solidFill>
                <a:latin typeface="+mn-lt"/>
              </a:rPr>
              <a:t>WHY IT’S HAPPENING</a:t>
            </a:r>
          </a:p>
          <a:p>
            <a:pPr algn="ctr"/>
            <a:endParaRPr lang="en-US" sz="1000" b="0" dirty="0">
              <a:solidFill>
                <a:schemeClr val="bg1"/>
              </a:solidFill>
              <a:latin typeface="+mn-lt"/>
            </a:endParaRPr>
          </a:p>
          <a:p>
            <a:pPr algn="ctr"/>
            <a:r>
              <a:rPr lang="en-US" sz="1400" b="0" i="1" dirty="0">
                <a:solidFill>
                  <a:schemeClr val="bg1"/>
                </a:solidFill>
                <a:latin typeface="Georgia" panose="02040502050405020303" pitchFamily="18" charset="0"/>
              </a:rPr>
              <a:t>What consumers think and feel</a:t>
            </a:r>
          </a:p>
        </p:txBody>
      </p:sp>
      <p:sp>
        <p:nvSpPr>
          <p:cNvPr id="39" name="Oval 38">
            <a:extLst>
              <a:ext uri="{FF2B5EF4-FFF2-40B4-BE49-F238E27FC236}">
                <a16:creationId xmlns:a16="http://schemas.microsoft.com/office/drawing/2014/main" id="{A0561630-282B-03EE-966B-C51E66CBC724}"/>
              </a:ext>
            </a:extLst>
          </p:cNvPr>
          <p:cNvSpPr/>
          <p:nvPr userDrawn="1"/>
        </p:nvSpPr>
        <p:spPr>
          <a:xfrm flipH="1">
            <a:off x="6427391" y="3219195"/>
            <a:ext cx="1829169" cy="1829169"/>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0" i="1" dirty="0">
              <a:latin typeface="Georgia" panose="02040502050405020303" pitchFamily="18" charset="0"/>
            </a:endParaRPr>
          </a:p>
        </p:txBody>
      </p:sp>
      <p:sp>
        <p:nvSpPr>
          <p:cNvPr id="40" name="TextBox 39">
            <a:extLst>
              <a:ext uri="{FF2B5EF4-FFF2-40B4-BE49-F238E27FC236}">
                <a16:creationId xmlns:a16="http://schemas.microsoft.com/office/drawing/2014/main" id="{B24701CA-639B-3567-FA6F-84B5AC4392BC}"/>
              </a:ext>
            </a:extLst>
          </p:cNvPr>
          <p:cNvSpPr txBox="1"/>
          <p:nvPr userDrawn="1"/>
        </p:nvSpPr>
        <p:spPr>
          <a:xfrm>
            <a:off x="6501703" y="3459229"/>
            <a:ext cx="1680544" cy="1323439"/>
          </a:xfrm>
          <a:prstGeom prst="rect">
            <a:avLst/>
          </a:prstGeom>
          <a:noFill/>
        </p:spPr>
        <p:txBody>
          <a:bodyPr wrap="square">
            <a:spAutoFit/>
          </a:bodyPr>
          <a:lstStyle/>
          <a:p>
            <a:pPr algn="ctr"/>
            <a:r>
              <a:rPr lang="en-US" sz="1400" b="1" dirty="0">
                <a:solidFill>
                  <a:schemeClr val="bg1"/>
                </a:solidFill>
                <a:latin typeface="+mn-lt"/>
              </a:rPr>
              <a:t>WHAT TO DO ABOUT IT</a:t>
            </a:r>
          </a:p>
          <a:p>
            <a:pPr algn="ctr"/>
            <a:endParaRPr lang="en-US" sz="1000" b="0" dirty="0">
              <a:solidFill>
                <a:schemeClr val="bg1"/>
              </a:solidFill>
              <a:latin typeface="+mn-lt"/>
            </a:endParaRPr>
          </a:p>
          <a:p>
            <a:pPr algn="ctr"/>
            <a:r>
              <a:rPr lang="en-US" sz="1400" b="0" i="1" dirty="0">
                <a:solidFill>
                  <a:schemeClr val="bg1"/>
                </a:solidFill>
                <a:latin typeface="Georgia" panose="02040502050405020303" pitchFamily="18" charset="0"/>
              </a:rPr>
              <a:t>How to capitalize on opportunities &amp; mitigate risks</a:t>
            </a:r>
          </a:p>
        </p:txBody>
      </p:sp>
      <p:sp>
        <p:nvSpPr>
          <p:cNvPr id="21" name="Rectangle 20">
            <a:extLst>
              <a:ext uri="{FF2B5EF4-FFF2-40B4-BE49-F238E27FC236}">
                <a16:creationId xmlns:a16="http://schemas.microsoft.com/office/drawing/2014/main" id="{012223AB-4793-2899-DA95-C25D5459BBF9}"/>
              </a:ext>
            </a:extLst>
          </p:cNvPr>
          <p:cNvSpPr/>
          <p:nvPr userDrawn="1"/>
        </p:nvSpPr>
        <p:spPr>
          <a:xfrm>
            <a:off x="9299112" y="140017"/>
            <a:ext cx="2594706" cy="5122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42" name="Rectangle 41">
            <a:extLst>
              <a:ext uri="{FF2B5EF4-FFF2-40B4-BE49-F238E27FC236}">
                <a16:creationId xmlns:a16="http://schemas.microsoft.com/office/drawing/2014/main" id="{B5BC9B04-9202-E258-B355-180DEA7ECF85}"/>
              </a:ext>
            </a:extLst>
          </p:cNvPr>
          <p:cNvSpPr/>
          <p:nvPr userDrawn="1"/>
        </p:nvSpPr>
        <p:spPr>
          <a:xfrm>
            <a:off x="278932" y="5412553"/>
            <a:ext cx="8871555" cy="86599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pic>
        <p:nvPicPr>
          <p:cNvPr id="43" name="Picture 42">
            <a:extLst>
              <a:ext uri="{FF2B5EF4-FFF2-40B4-BE49-F238E27FC236}">
                <a16:creationId xmlns:a16="http://schemas.microsoft.com/office/drawing/2014/main" id="{C6E9ADBE-BBB1-514D-B4B9-1D15476C8C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44" name="TextBox 43">
            <a:extLst>
              <a:ext uri="{FF2B5EF4-FFF2-40B4-BE49-F238E27FC236}">
                <a16:creationId xmlns:a16="http://schemas.microsoft.com/office/drawing/2014/main" id="{D3C09F15-ADF1-62DC-0F62-CB592E19D3A5}"/>
              </a:ext>
            </a:extLst>
          </p:cNvPr>
          <p:cNvSpPr txBox="1"/>
          <p:nvPr userDrawn="1"/>
        </p:nvSpPr>
        <p:spPr>
          <a:xfrm>
            <a:off x="567490" y="5496477"/>
            <a:ext cx="8267536" cy="707886"/>
          </a:xfrm>
          <a:prstGeom prst="rect">
            <a:avLst/>
          </a:prstGeom>
          <a:noFill/>
        </p:spPr>
        <p:txBody>
          <a:bodyPr wrap="square">
            <a:spAutoFit/>
          </a:bodyPr>
          <a:lstStyle/>
          <a:p>
            <a:pPr algn="ctr"/>
            <a:r>
              <a:rPr lang="en-US" sz="1400" b="1" dirty="0">
                <a:solidFill>
                  <a:schemeClr val="tx2"/>
                </a:solidFill>
                <a:latin typeface="+mn-lt"/>
              </a:rPr>
              <a:t>THE MOST COMPREHENSIVE AND HIGHEST QUALITY DATA</a:t>
            </a:r>
          </a:p>
          <a:p>
            <a:pPr algn="ctr"/>
            <a:endParaRPr lang="en-US" sz="1000" b="0" dirty="0">
              <a:solidFill>
                <a:schemeClr val="tx2"/>
              </a:solidFill>
              <a:latin typeface="+mn-lt"/>
            </a:endParaRPr>
          </a:p>
          <a:p>
            <a:pPr algn="ctr"/>
            <a:r>
              <a:rPr lang="en-US" sz="1600" b="1" dirty="0">
                <a:solidFill>
                  <a:schemeClr val="tx2"/>
                </a:solidFill>
                <a:latin typeface="+mn-lt"/>
              </a:rPr>
              <a:t>More: </a:t>
            </a:r>
            <a:r>
              <a:rPr lang="en-US" sz="1600" b="0" dirty="0">
                <a:solidFill>
                  <a:schemeClr val="tx2"/>
                </a:solidFill>
                <a:latin typeface="+mn-lt"/>
              </a:rPr>
              <a:t>geographies • consumers • retailers • channels • categories • attributes</a:t>
            </a:r>
          </a:p>
        </p:txBody>
      </p:sp>
      <p:sp>
        <p:nvSpPr>
          <p:cNvPr id="45" name="Triangle 44">
            <a:extLst>
              <a:ext uri="{FF2B5EF4-FFF2-40B4-BE49-F238E27FC236}">
                <a16:creationId xmlns:a16="http://schemas.microsoft.com/office/drawing/2014/main" id="{2C523A63-42EB-ABFD-2403-F82DDE8427E7}"/>
              </a:ext>
            </a:extLst>
          </p:cNvPr>
          <p:cNvSpPr/>
          <p:nvPr userDrawn="1"/>
        </p:nvSpPr>
        <p:spPr>
          <a:xfrm>
            <a:off x="4587709" y="5305249"/>
            <a:ext cx="254000" cy="149673"/>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47" name="Triangle 46">
            <a:extLst>
              <a:ext uri="{FF2B5EF4-FFF2-40B4-BE49-F238E27FC236}">
                <a16:creationId xmlns:a16="http://schemas.microsoft.com/office/drawing/2014/main" id="{F119B93D-90E3-7634-8AF1-DBC6417C3E36}"/>
              </a:ext>
            </a:extLst>
          </p:cNvPr>
          <p:cNvSpPr/>
          <p:nvPr userDrawn="1"/>
        </p:nvSpPr>
        <p:spPr>
          <a:xfrm rot="5400000">
            <a:off x="9075182" y="1576164"/>
            <a:ext cx="254000" cy="149673"/>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48" name="Triangle 47">
            <a:extLst>
              <a:ext uri="{FF2B5EF4-FFF2-40B4-BE49-F238E27FC236}">
                <a16:creationId xmlns:a16="http://schemas.microsoft.com/office/drawing/2014/main" id="{F0528602-0BE9-3923-DB03-A54BAD7EDEBA}"/>
              </a:ext>
            </a:extLst>
          </p:cNvPr>
          <p:cNvSpPr/>
          <p:nvPr userDrawn="1"/>
        </p:nvSpPr>
        <p:spPr>
          <a:xfrm rot="5400000">
            <a:off x="9075182" y="4085685"/>
            <a:ext cx="254000" cy="14967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49" name="TextBox 48">
            <a:extLst>
              <a:ext uri="{FF2B5EF4-FFF2-40B4-BE49-F238E27FC236}">
                <a16:creationId xmlns:a16="http://schemas.microsoft.com/office/drawing/2014/main" id="{0B911A14-6266-F6B1-0719-503B95224CC0}"/>
              </a:ext>
            </a:extLst>
          </p:cNvPr>
          <p:cNvSpPr txBox="1"/>
          <p:nvPr userDrawn="1"/>
        </p:nvSpPr>
        <p:spPr>
          <a:xfrm>
            <a:off x="9577585" y="305531"/>
            <a:ext cx="2121665" cy="4801314"/>
          </a:xfrm>
          <a:prstGeom prst="rect">
            <a:avLst/>
          </a:prstGeom>
          <a:noFill/>
        </p:spPr>
        <p:txBody>
          <a:bodyPr wrap="square" anchor="ctr">
            <a:spAutoFit/>
          </a:bodyPr>
          <a:lstStyle/>
          <a:p>
            <a:pPr algn="l">
              <a:spcAft>
                <a:spcPts val="600"/>
              </a:spcAft>
            </a:pPr>
            <a:r>
              <a:rPr lang="en-US" sz="1400" b="1" dirty="0">
                <a:solidFill>
                  <a:schemeClr val="tx2"/>
                </a:solidFill>
                <a:latin typeface="+mn-lt"/>
              </a:rPr>
              <a:t>PRODUCT CATEGORIES</a:t>
            </a:r>
            <a:endParaRPr lang="en-US" sz="1400" b="0" dirty="0">
              <a:solidFill>
                <a:schemeClr val="tx2"/>
              </a:solidFill>
              <a:latin typeface="+mn-lt"/>
            </a:endParaRPr>
          </a:p>
          <a:p>
            <a:pPr marL="171450" indent="-171450" algn="l">
              <a:spcAft>
                <a:spcPts val="600"/>
              </a:spcAft>
              <a:buFont typeface="Arial" panose="020B0604020202020204" pitchFamily="34" charset="0"/>
              <a:buChar char="•"/>
            </a:pPr>
            <a:r>
              <a:rPr lang="en-US" sz="1400" b="0" dirty="0">
                <a:solidFill>
                  <a:schemeClr val="tx2"/>
                </a:solidFill>
                <a:latin typeface="+mn-lt"/>
              </a:rPr>
              <a:t>Market performance measurement of B&amp;M, e-commerce, and omnichannel</a:t>
            </a:r>
          </a:p>
          <a:p>
            <a:pPr marL="171450" indent="-171450" algn="l">
              <a:spcAft>
                <a:spcPts val="600"/>
              </a:spcAft>
              <a:buFont typeface="Arial" panose="020B0604020202020204" pitchFamily="34" charset="0"/>
              <a:buChar char="•"/>
            </a:pPr>
            <a:r>
              <a:rPr lang="en-US" sz="1400" b="0" dirty="0">
                <a:solidFill>
                  <a:schemeClr val="tx2"/>
                </a:solidFill>
                <a:latin typeface="+mn-lt"/>
              </a:rPr>
              <a:t>Consumer and shopper insights</a:t>
            </a:r>
          </a:p>
          <a:p>
            <a:pPr marL="171450" indent="-171450" algn="l">
              <a:spcAft>
                <a:spcPts val="600"/>
              </a:spcAft>
              <a:buFont typeface="Arial" panose="020B0604020202020204" pitchFamily="34" charset="0"/>
              <a:buChar char="•"/>
            </a:pPr>
            <a:r>
              <a:rPr lang="en-US" sz="1400" b="0" dirty="0">
                <a:solidFill>
                  <a:schemeClr val="tx2"/>
                </a:solidFill>
                <a:latin typeface="+mn-lt"/>
              </a:rPr>
              <a:t>Revenue growth management</a:t>
            </a:r>
          </a:p>
          <a:p>
            <a:pPr marL="171450" indent="-171450" algn="l">
              <a:spcAft>
                <a:spcPts val="600"/>
              </a:spcAft>
              <a:buFont typeface="Arial" panose="020B0604020202020204" pitchFamily="34" charset="0"/>
              <a:buChar char="•"/>
            </a:pPr>
            <a:r>
              <a:rPr lang="en-US" sz="1400" b="0" dirty="0">
                <a:solidFill>
                  <a:schemeClr val="tx2"/>
                </a:solidFill>
                <a:latin typeface="+mn-lt"/>
              </a:rPr>
              <a:t>Assortment and merchandising</a:t>
            </a:r>
          </a:p>
          <a:p>
            <a:pPr marL="171450" indent="-171450" algn="l">
              <a:spcAft>
                <a:spcPts val="600"/>
              </a:spcAft>
              <a:buFont typeface="Arial" panose="020B0604020202020204" pitchFamily="34" charset="0"/>
              <a:buChar char="•"/>
            </a:pPr>
            <a:r>
              <a:rPr lang="en-US" sz="1400" b="0" dirty="0">
                <a:solidFill>
                  <a:schemeClr val="tx2"/>
                </a:solidFill>
                <a:latin typeface="+mn-lt"/>
              </a:rPr>
              <a:t>Route-to-market</a:t>
            </a:r>
          </a:p>
          <a:p>
            <a:pPr marL="171450" indent="-171450" algn="l">
              <a:spcAft>
                <a:spcPts val="600"/>
              </a:spcAft>
              <a:buFont typeface="Arial" panose="020B0604020202020204" pitchFamily="34" charset="0"/>
              <a:buChar char="•"/>
            </a:pPr>
            <a:r>
              <a:rPr lang="en-US" sz="1400" b="0" dirty="0">
                <a:solidFill>
                  <a:schemeClr val="tx2"/>
                </a:solidFill>
                <a:latin typeface="+mn-lt"/>
              </a:rPr>
              <a:t>Marketing, media, and personalized offers</a:t>
            </a:r>
          </a:p>
          <a:p>
            <a:pPr marL="171450" indent="-171450" algn="l">
              <a:spcAft>
                <a:spcPts val="600"/>
              </a:spcAft>
              <a:buFont typeface="Arial" panose="020B0604020202020204" pitchFamily="34" charset="0"/>
              <a:buChar char="•"/>
            </a:pPr>
            <a:r>
              <a:rPr lang="en-US" sz="1400" b="0" dirty="0">
                <a:solidFill>
                  <a:schemeClr val="tx2"/>
                </a:solidFill>
                <a:latin typeface="+mn-lt"/>
              </a:rPr>
              <a:t>Operations and supply chain</a:t>
            </a:r>
          </a:p>
          <a:p>
            <a:pPr marL="171450" indent="-171450" algn="l">
              <a:spcAft>
                <a:spcPts val="600"/>
              </a:spcAft>
              <a:buFont typeface="Arial" panose="020B0604020202020204" pitchFamily="34" charset="0"/>
              <a:buChar char="•"/>
            </a:pPr>
            <a:r>
              <a:rPr lang="en-US" sz="1400" b="0" dirty="0">
                <a:solidFill>
                  <a:schemeClr val="tx2"/>
                </a:solidFill>
                <a:latin typeface="+mn-lt"/>
              </a:rPr>
              <a:t>Product offer management</a:t>
            </a:r>
            <a:endParaRPr lang="en-US" sz="1050" b="0" dirty="0">
              <a:solidFill>
                <a:schemeClr val="tx2"/>
              </a:solidFill>
              <a:latin typeface="+mn-lt"/>
            </a:endParaRPr>
          </a:p>
        </p:txBody>
      </p:sp>
    </p:spTree>
    <p:extLst>
      <p:ext uri="{BB962C8B-B14F-4D97-AF65-F5344CB8AC3E}">
        <p14:creationId xmlns:p14="http://schemas.microsoft.com/office/powerpoint/2010/main" val="687175326"/>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divider_deep_blue">
    <p:bg>
      <p:bgRef idx="1001">
        <a:schemeClr val="bg1"/>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a:ln>
            <a:noFill/>
          </a:ln>
        </p:spPr>
        <p:txBody>
          <a:bodyPr vert="horz" lIns="0" tIns="45720" rIns="0" bIns="45720" rtlCol="0" anchor="ctr"/>
          <a:lstStyle>
            <a:lvl1pPr algn="r">
              <a:defRPr sz="1000">
                <a:solidFill>
                  <a:srgbClr val="B3B3B3"/>
                </a:solidFill>
              </a:defRPr>
            </a:lvl1pPr>
          </a:lstStyle>
          <a:p>
            <a:fld id="{403EF4E2-7A7A-0548-85F1-5479B7C9E1B2}" type="slidenum">
              <a:rPr lang="en-US" smtClean="0"/>
              <a:pPr/>
              <a:t>‹#›</a:t>
            </a:fld>
            <a:endParaRPr lang="en-US" dirty="0"/>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a:ln>
            <a:noFill/>
          </a:ln>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rgbClr val="B3B3B3"/>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TextBox 4">
            <a:extLst>
              <a:ext uri="{FF2B5EF4-FFF2-40B4-BE49-F238E27FC236}">
                <a16:creationId xmlns:a16="http://schemas.microsoft.com/office/drawing/2014/main" id="{9E788ED0-C34D-9A83-6510-E8B6FB8024CD}"/>
              </a:ext>
            </a:extLst>
          </p:cNvPr>
          <p:cNvSpPr txBox="1"/>
          <p:nvPr userDrawn="1"/>
        </p:nvSpPr>
        <p:spPr>
          <a:xfrm>
            <a:off x="1915964" y="1693935"/>
            <a:ext cx="8360073" cy="3245834"/>
          </a:xfrm>
          <a:prstGeom prst="rect">
            <a:avLst/>
          </a:prstGeom>
          <a:noFill/>
        </p:spPr>
        <p:txBody>
          <a:bodyPr wrap="square" lIns="0" rIns="0" rtlCol="0" anchor="b">
            <a:noAutofit/>
          </a:bodyPr>
          <a:lstStyle/>
          <a:p>
            <a:pPr algn="l">
              <a:spcAft>
                <a:spcPts val="600"/>
              </a:spcAft>
            </a:pPr>
            <a:r>
              <a:rPr lang="en-US" sz="4400" i="1" dirty="0">
                <a:solidFill>
                  <a:schemeClr val="bg1">
                    <a:lumMod val="75000"/>
                  </a:schemeClr>
                </a:solidFill>
                <a:latin typeface="Georgia" panose="02040502050405020303" pitchFamily="18" charset="0"/>
              </a:rPr>
              <a:t>We deliver </a:t>
            </a:r>
            <a:r>
              <a:rPr lang="en-US" sz="4400" i="1" dirty="0">
                <a:solidFill>
                  <a:schemeClr val="bg2"/>
                </a:solidFill>
                <a:latin typeface="Georgia" panose="02040502050405020303" pitchFamily="18" charset="0"/>
              </a:rPr>
              <a:t>the Full View</a:t>
            </a:r>
            <a:r>
              <a:rPr lang="en-US" sz="4400" i="1" dirty="0">
                <a:solidFill>
                  <a:schemeClr val="bg1">
                    <a:lumMod val="75000"/>
                  </a:schemeClr>
                </a:solidFill>
                <a:latin typeface="Georgia" panose="02040502050405020303" pitchFamily="18" charset="0"/>
              </a:rPr>
              <a:t>, the world’s most complete and clear understanding of consumer buying behavior that reveals new pathways to growth.</a:t>
            </a:r>
          </a:p>
        </p:txBody>
      </p:sp>
      <p:sp>
        <p:nvSpPr>
          <p:cNvPr id="10" name="Title 1">
            <a:extLst>
              <a:ext uri="{FF2B5EF4-FFF2-40B4-BE49-F238E27FC236}">
                <a16:creationId xmlns:a16="http://schemas.microsoft.com/office/drawing/2014/main" id="{F5E6D3AB-7A53-E421-F392-5F7F9A9EB4D8}"/>
              </a:ext>
            </a:extLst>
          </p:cNvPr>
          <p:cNvSpPr txBox="1">
            <a:spLocks/>
          </p:cNvSpPr>
          <p:nvPr userDrawn="1"/>
        </p:nvSpPr>
        <p:spPr>
          <a:xfrm>
            <a:off x="288558" y="178971"/>
            <a:ext cx="5537253" cy="397352"/>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dirty="0">
                <a:solidFill>
                  <a:schemeClr val="tx1"/>
                </a:solidFill>
              </a:rPr>
              <a:t>Our Tagline</a:t>
            </a:r>
          </a:p>
        </p:txBody>
      </p:sp>
    </p:spTree>
    <p:extLst>
      <p:ext uri="{BB962C8B-B14F-4D97-AF65-F5344CB8AC3E}">
        <p14:creationId xmlns:p14="http://schemas.microsoft.com/office/powerpoint/2010/main" val="2106841552"/>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_divider_deep_blue">
    <p:bg>
      <p:bgRef idx="1001">
        <a:schemeClr val="bg2"/>
      </p:bgRef>
    </p:bg>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3F6599BE-B6EF-C42F-E63F-0BE3E239339E}"/>
              </a:ext>
            </a:extLst>
          </p:cNvPr>
          <p:cNvSpPr/>
          <p:nvPr userDrawn="1"/>
        </p:nvSpPr>
        <p:spPr>
          <a:xfrm>
            <a:off x="0" y="522"/>
            <a:ext cx="1984905" cy="6858000"/>
          </a:xfrm>
          <a:custGeom>
            <a:avLst/>
            <a:gdLst/>
            <a:ahLst/>
            <a:cxnLst/>
            <a:rect l="l" t="t" r="r" b="b"/>
            <a:pathLst>
              <a:path w="2381885" h="8229600">
                <a:moveTo>
                  <a:pt x="0" y="8229600"/>
                </a:moveTo>
                <a:lnTo>
                  <a:pt x="2381722" y="8229600"/>
                </a:lnTo>
                <a:lnTo>
                  <a:pt x="2381711" y="0"/>
                </a:lnTo>
                <a:lnTo>
                  <a:pt x="0" y="0"/>
                </a:lnTo>
                <a:lnTo>
                  <a:pt x="0" y="8229600"/>
                </a:lnTo>
                <a:close/>
              </a:path>
            </a:pathLst>
          </a:custGeom>
          <a:solidFill>
            <a:srgbClr val="2C6CF6">
              <a:alpha val="11997"/>
            </a:srgbClr>
          </a:solidFill>
        </p:spPr>
        <p:txBody>
          <a:bodyPr wrap="square" lIns="0" tIns="0" rIns="0" bIns="0" rtlCol="0"/>
          <a:lstStyle/>
          <a:p>
            <a:endParaRPr dirty="0"/>
          </a:p>
        </p:txBody>
      </p:sp>
      <p:sp>
        <p:nvSpPr>
          <p:cNvPr id="7" name="object 4">
            <a:extLst>
              <a:ext uri="{FF2B5EF4-FFF2-40B4-BE49-F238E27FC236}">
                <a16:creationId xmlns:a16="http://schemas.microsoft.com/office/drawing/2014/main" id="{9F7796EA-FD3F-947C-072F-5C074AFC3C02}"/>
              </a:ext>
            </a:extLst>
          </p:cNvPr>
          <p:cNvSpPr/>
          <p:nvPr userDrawn="1"/>
        </p:nvSpPr>
        <p:spPr>
          <a:xfrm>
            <a:off x="4637350" y="522"/>
            <a:ext cx="8904287" cy="6858000"/>
          </a:xfrm>
          <a:custGeom>
            <a:avLst/>
            <a:gdLst/>
            <a:ahLst/>
            <a:cxnLst/>
            <a:rect l="l" t="t" r="r" b="b"/>
            <a:pathLst>
              <a:path w="10685144" h="8229600">
                <a:moveTo>
                  <a:pt x="7823267" y="0"/>
                </a:moveTo>
                <a:lnTo>
                  <a:pt x="2172476" y="0"/>
                </a:lnTo>
                <a:lnTo>
                  <a:pt x="2150060" y="25400"/>
                </a:lnTo>
                <a:lnTo>
                  <a:pt x="2077038" y="76200"/>
                </a:lnTo>
                <a:lnTo>
                  <a:pt x="1933924" y="177800"/>
                </a:lnTo>
                <a:lnTo>
                  <a:pt x="1898767" y="215900"/>
                </a:lnTo>
                <a:lnTo>
                  <a:pt x="1794824" y="292100"/>
                </a:lnTo>
                <a:lnTo>
                  <a:pt x="1760692" y="330200"/>
                </a:lnTo>
                <a:lnTo>
                  <a:pt x="1693213" y="381000"/>
                </a:lnTo>
                <a:lnTo>
                  <a:pt x="1659870" y="419100"/>
                </a:lnTo>
                <a:lnTo>
                  <a:pt x="1593988" y="469900"/>
                </a:lnTo>
                <a:lnTo>
                  <a:pt x="1561454" y="508000"/>
                </a:lnTo>
                <a:lnTo>
                  <a:pt x="1529192" y="533400"/>
                </a:lnTo>
                <a:lnTo>
                  <a:pt x="1497206" y="571500"/>
                </a:lnTo>
                <a:lnTo>
                  <a:pt x="1465497" y="596900"/>
                </a:lnTo>
                <a:lnTo>
                  <a:pt x="1434068" y="635000"/>
                </a:lnTo>
                <a:lnTo>
                  <a:pt x="1402920" y="660400"/>
                </a:lnTo>
                <a:lnTo>
                  <a:pt x="1372056" y="698500"/>
                </a:lnTo>
                <a:lnTo>
                  <a:pt x="1341477" y="736600"/>
                </a:lnTo>
                <a:lnTo>
                  <a:pt x="1311186" y="762000"/>
                </a:lnTo>
                <a:lnTo>
                  <a:pt x="1281184" y="800100"/>
                </a:lnTo>
                <a:lnTo>
                  <a:pt x="1251474" y="838200"/>
                </a:lnTo>
                <a:lnTo>
                  <a:pt x="1222058" y="863600"/>
                </a:lnTo>
                <a:lnTo>
                  <a:pt x="1192938" y="901700"/>
                </a:lnTo>
                <a:lnTo>
                  <a:pt x="1164116" y="939800"/>
                </a:lnTo>
                <a:lnTo>
                  <a:pt x="1135593" y="965200"/>
                </a:lnTo>
                <a:lnTo>
                  <a:pt x="1107372" y="1003300"/>
                </a:lnTo>
                <a:lnTo>
                  <a:pt x="1079455" y="1041400"/>
                </a:lnTo>
                <a:lnTo>
                  <a:pt x="1051844" y="1079500"/>
                </a:lnTo>
                <a:lnTo>
                  <a:pt x="1024542" y="1117600"/>
                </a:lnTo>
                <a:lnTo>
                  <a:pt x="997549" y="1143000"/>
                </a:lnTo>
                <a:lnTo>
                  <a:pt x="970868" y="1181100"/>
                </a:lnTo>
                <a:lnTo>
                  <a:pt x="944501" y="1219200"/>
                </a:lnTo>
                <a:lnTo>
                  <a:pt x="918451" y="1257300"/>
                </a:lnTo>
                <a:lnTo>
                  <a:pt x="892718" y="1295400"/>
                </a:lnTo>
                <a:lnTo>
                  <a:pt x="867306" y="1333500"/>
                </a:lnTo>
                <a:lnTo>
                  <a:pt x="842216" y="1371600"/>
                </a:lnTo>
                <a:lnTo>
                  <a:pt x="817450" y="1409700"/>
                </a:lnTo>
                <a:lnTo>
                  <a:pt x="793011" y="1447800"/>
                </a:lnTo>
                <a:lnTo>
                  <a:pt x="768900" y="1485900"/>
                </a:lnTo>
                <a:lnTo>
                  <a:pt x="745120" y="1524000"/>
                </a:lnTo>
                <a:lnTo>
                  <a:pt x="721672" y="1562100"/>
                </a:lnTo>
                <a:lnTo>
                  <a:pt x="698558" y="1600200"/>
                </a:lnTo>
                <a:lnTo>
                  <a:pt x="675781" y="1638300"/>
                </a:lnTo>
                <a:lnTo>
                  <a:pt x="653342" y="1676400"/>
                </a:lnTo>
                <a:lnTo>
                  <a:pt x="631244" y="1714500"/>
                </a:lnTo>
                <a:lnTo>
                  <a:pt x="609489" y="1752600"/>
                </a:lnTo>
                <a:lnTo>
                  <a:pt x="588078" y="1803400"/>
                </a:lnTo>
                <a:lnTo>
                  <a:pt x="567015" y="1841500"/>
                </a:lnTo>
                <a:lnTo>
                  <a:pt x="546299" y="1879600"/>
                </a:lnTo>
                <a:lnTo>
                  <a:pt x="525935" y="1917700"/>
                </a:lnTo>
                <a:lnTo>
                  <a:pt x="505923" y="1955800"/>
                </a:lnTo>
                <a:lnTo>
                  <a:pt x="486267" y="2006600"/>
                </a:lnTo>
                <a:lnTo>
                  <a:pt x="466967" y="2044700"/>
                </a:lnTo>
                <a:lnTo>
                  <a:pt x="448026" y="2082800"/>
                </a:lnTo>
                <a:lnTo>
                  <a:pt x="429446" y="2120900"/>
                </a:lnTo>
                <a:lnTo>
                  <a:pt x="411229" y="2171700"/>
                </a:lnTo>
                <a:lnTo>
                  <a:pt x="393377" y="2209800"/>
                </a:lnTo>
                <a:lnTo>
                  <a:pt x="375892" y="2247900"/>
                </a:lnTo>
                <a:lnTo>
                  <a:pt x="358777" y="2298700"/>
                </a:lnTo>
                <a:lnTo>
                  <a:pt x="342032" y="2336800"/>
                </a:lnTo>
                <a:lnTo>
                  <a:pt x="325661" y="2374900"/>
                </a:lnTo>
                <a:lnTo>
                  <a:pt x="309665" y="2425700"/>
                </a:lnTo>
                <a:lnTo>
                  <a:pt x="294046" y="2463800"/>
                </a:lnTo>
                <a:lnTo>
                  <a:pt x="278807" y="2514600"/>
                </a:lnTo>
                <a:lnTo>
                  <a:pt x="263949" y="2552700"/>
                </a:lnTo>
                <a:lnTo>
                  <a:pt x="249474" y="2603500"/>
                </a:lnTo>
                <a:lnTo>
                  <a:pt x="235385" y="2641600"/>
                </a:lnTo>
                <a:lnTo>
                  <a:pt x="221683" y="2679700"/>
                </a:lnTo>
                <a:lnTo>
                  <a:pt x="208370" y="2730500"/>
                </a:lnTo>
                <a:lnTo>
                  <a:pt x="195450" y="2768600"/>
                </a:lnTo>
                <a:lnTo>
                  <a:pt x="182922" y="2819400"/>
                </a:lnTo>
                <a:lnTo>
                  <a:pt x="170791" y="2870200"/>
                </a:lnTo>
                <a:lnTo>
                  <a:pt x="159057" y="2908300"/>
                </a:lnTo>
                <a:lnTo>
                  <a:pt x="147723" y="2959100"/>
                </a:lnTo>
                <a:lnTo>
                  <a:pt x="136790" y="2997200"/>
                </a:lnTo>
                <a:lnTo>
                  <a:pt x="126261" y="3048000"/>
                </a:lnTo>
                <a:lnTo>
                  <a:pt x="116138" y="3086100"/>
                </a:lnTo>
                <a:lnTo>
                  <a:pt x="106423" y="3136900"/>
                </a:lnTo>
                <a:lnTo>
                  <a:pt x="97118" y="3187700"/>
                </a:lnTo>
                <a:lnTo>
                  <a:pt x="88225" y="3225800"/>
                </a:lnTo>
                <a:lnTo>
                  <a:pt x="79745" y="3276600"/>
                </a:lnTo>
                <a:lnTo>
                  <a:pt x="71682" y="3314700"/>
                </a:lnTo>
                <a:lnTo>
                  <a:pt x="64037" y="3365500"/>
                </a:lnTo>
                <a:lnTo>
                  <a:pt x="56811" y="3416300"/>
                </a:lnTo>
                <a:lnTo>
                  <a:pt x="50008" y="3454400"/>
                </a:lnTo>
                <a:lnTo>
                  <a:pt x="43629" y="3505200"/>
                </a:lnTo>
                <a:lnTo>
                  <a:pt x="37676" y="3556000"/>
                </a:lnTo>
                <a:lnTo>
                  <a:pt x="32152" y="3606800"/>
                </a:lnTo>
                <a:lnTo>
                  <a:pt x="27058" y="3644900"/>
                </a:lnTo>
                <a:lnTo>
                  <a:pt x="22395" y="3695700"/>
                </a:lnTo>
                <a:lnTo>
                  <a:pt x="18168" y="3746500"/>
                </a:lnTo>
                <a:lnTo>
                  <a:pt x="14376" y="3797300"/>
                </a:lnTo>
                <a:lnTo>
                  <a:pt x="11023" y="3835400"/>
                </a:lnTo>
                <a:lnTo>
                  <a:pt x="8111" y="3886200"/>
                </a:lnTo>
                <a:lnTo>
                  <a:pt x="5641" y="3937000"/>
                </a:lnTo>
                <a:lnTo>
                  <a:pt x="3615" y="3987800"/>
                </a:lnTo>
                <a:lnTo>
                  <a:pt x="2037" y="4025900"/>
                </a:lnTo>
                <a:lnTo>
                  <a:pt x="906" y="4076700"/>
                </a:lnTo>
                <a:lnTo>
                  <a:pt x="227" y="4127500"/>
                </a:lnTo>
                <a:lnTo>
                  <a:pt x="0" y="4178300"/>
                </a:lnTo>
                <a:lnTo>
                  <a:pt x="227" y="4229100"/>
                </a:lnTo>
                <a:lnTo>
                  <a:pt x="906" y="4279900"/>
                </a:lnTo>
                <a:lnTo>
                  <a:pt x="2037" y="4318000"/>
                </a:lnTo>
                <a:lnTo>
                  <a:pt x="3615" y="4368800"/>
                </a:lnTo>
                <a:lnTo>
                  <a:pt x="5641" y="4419600"/>
                </a:lnTo>
                <a:lnTo>
                  <a:pt x="8111" y="4470400"/>
                </a:lnTo>
                <a:lnTo>
                  <a:pt x="11023" y="4521200"/>
                </a:lnTo>
                <a:lnTo>
                  <a:pt x="14376" y="4559300"/>
                </a:lnTo>
                <a:lnTo>
                  <a:pt x="18168" y="4610100"/>
                </a:lnTo>
                <a:lnTo>
                  <a:pt x="22395" y="4660900"/>
                </a:lnTo>
                <a:lnTo>
                  <a:pt x="27058" y="4711700"/>
                </a:lnTo>
                <a:lnTo>
                  <a:pt x="32152" y="4749800"/>
                </a:lnTo>
                <a:lnTo>
                  <a:pt x="37676" y="4800600"/>
                </a:lnTo>
                <a:lnTo>
                  <a:pt x="43629" y="4851400"/>
                </a:lnTo>
                <a:lnTo>
                  <a:pt x="50008" y="4889500"/>
                </a:lnTo>
                <a:lnTo>
                  <a:pt x="56811" y="4940300"/>
                </a:lnTo>
                <a:lnTo>
                  <a:pt x="64037" y="4991100"/>
                </a:lnTo>
                <a:lnTo>
                  <a:pt x="71682" y="5029200"/>
                </a:lnTo>
                <a:lnTo>
                  <a:pt x="79745" y="5080000"/>
                </a:lnTo>
                <a:lnTo>
                  <a:pt x="88225" y="5130800"/>
                </a:lnTo>
                <a:lnTo>
                  <a:pt x="97118" y="5168900"/>
                </a:lnTo>
                <a:lnTo>
                  <a:pt x="106423" y="5219700"/>
                </a:lnTo>
                <a:lnTo>
                  <a:pt x="116138" y="5270500"/>
                </a:lnTo>
                <a:lnTo>
                  <a:pt x="126261" y="5308600"/>
                </a:lnTo>
                <a:lnTo>
                  <a:pt x="136790" y="5359400"/>
                </a:lnTo>
                <a:lnTo>
                  <a:pt x="147723" y="5397500"/>
                </a:lnTo>
                <a:lnTo>
                  <a:pt x="159057" y="5448300"/>
                </a:lnTo>
                <a:lnTo>
                  <a:pt x="170791" y="5486400"/>
                </a:lnTo>
                <a:lnTo>
                  <a:pt x="182922" y="5537200"/>
                </a:lnTo>
                <a:lnTo>
                  <a:pt x="195450" y="5575300"/>
                </a:lnTo>
                <a:lnTo>
                  <a:pt x="208370" y="5626100"/>
                </a:lnTo>
                <a:lnTo>
                  <a:pt x="221683" y="5664200"/>
                </a:lnTo>
                <a:lnTo>
                  <a:pt x="235385" y="5715000"/>
                </a:lnTo>
                <a:lnTo>
                  <a:pt x="249474" y="5753100"/>
                </a:lnTo>
                <a:lnTo>
                  <a:pt x="263949" y="5803900"/>
                </a:lnTo>
                <a:lnTo>
                  <a:pt x="278807" y="5842000"/>
                </a:lnTo>
                <a:lnTo>
                  <a:pt x="294046" y="5892800"/>
                </a:lnTo>
                <a:lnTo>
                  <a:pt x="309665" y="5930900"/>
                </a:lnTo>
                <a:lnTo>
                  <a:pt x="325661" y="5969000"/>
                </a:lnTo>
                <a:lnTo>
                  <a:pt x="342032" y="6019800"/>
                </a:lnTo>
                <a:lnTo>
                  <a:pt x="358777" y="6057900"/>
                </a:lnTo>
                <a:lnTo>
                  <a:pt x="375892" y="6096000"/>
                </a:lnTo>
                <a:lnTo>
                  <a:pt x="393377" y="6146800"/>
                </a:lnTo>
                <a:lnTo>
                  <a:pt x="411229" y="6184900"/>
                </a:lnTo>
                <a:lnTo>
                  <a:pt x="429446" y="6223000"/>
                </a:lnTo>
                <a:lnTo>
                  <a:pt x="448026" y="6273800"/>
                </a:lnTo>
                <a:lnTo>
                  <a:pt x="466967" y="6311900"/>
                </a:lnTo>
                <a:lnTo>
                  <a:pt x="486267" y="6350000"/>
                </a:lnTo>
                <a:lnTo>
                  <a:pt x="505923" y="6388100"/>
                </a:lnTo>
                <a:lnTo>
                  <a:pt x="525935" y="6438900"/>
                </a:lnTo>
                <a:lnTo>
                  <a:pt x="546299" y="6477000"/>
                </a:lnTo>
                <a:lnTo>
                  <a:pt x="567015" y="6515100"/>
                </a:lnTo>
                <a:lnTo>
                  <a:pt x="588078" y="6553200"/>
                </a:lnTo>
                <a:lnTo>
                  <a:pt x="609489" y="6591300"/>
                </a:lnTo>
                <a:lnTo>
                  <a:pt x="631244" y="6642100"/>
                </a:lnTo>
                <a:lnTo>
                  <a:pt x="653342" y="6680200"/>
                </a:lnTo>
                <a:lnTo>
                  <a:pt x="675781" y="6718300"/>
                </a:lnTo>
                <a:lnTo>
                  <a:pt x="698558" y="6756400"/>
                </a:lnTo>
                <a:lnTo>
                  <a:pt x="721672" y="6794500"/>
                </a:lnTo>
                <a:lnTo>
                  <a:pt x="745120" y="6832600"/>
                </a:lnTo>
                <a:lnTo>
                  <a:pt x="768900" y="6870700"/>
                </a:lnTo>
                <a:lnTo>
                  <a:pt x="793011" y="6908800"/>
                </a:lnTo>
                <a:lnTo>
                  <a:pt x="817450" y="6946900"/>
                </a:lnTo>
                <a:lnTo>
                  <a:pt x="842216" y="6985000"/>
                </a:lnTo>
                <a:lnTo>
                  <a:pt x="867306" y="7023100"/>
                </a:lnTo>
                <a:lnTo>
                  <a:pt x="892718" y="7061200"/>
                </a:lnTo>
                <a:lnTo>
                  <a:pt x="918451" y="7099300"/>
                </a:lnTo>
                <a:lnTo>
                  <a:pt x="944501" y="7137400"/>
                </a:lnTo>
                <a:lnTo>
                  <a:pt x="970868" y="7175500"/>
                </a:lnTo>
                <a:lnTo>
                  <a:pt x="997549" y="7200900"/>
                </a:lnTo>
                <a:lnTo>
                  <a:pt x="1024542" y="7239000"/>
                </a:lnTo>
                <a:lnTo>
                  <a:pt x="1051844" y="7277100"/>
                </a:lnTo>
                <a:lnTo>
                  <a:pt x="1079455" y="7315200"/>
                </a:lnTo>
                <a:lnTo>
                  <a:pt x="1107372" y="7353300"/>
                </a:lnTo>
                <a:lnTo>
                  <a:pt x="1135593" y="7378700"/>
                </a:lnTo>
                <a:lnTo>
                  <a:pt x="1164116" y="7416800"/>
                </a:lnTo>
                <a:lnTo>
                  <a:pt x="1192938" y="7454900"/>
                </a:lnTo>
                <a:lnTo>
                  <a:pt x="1222058" y="7493000"/>
                </a:lnTo>
                <a:lnTo>
                  <a:pt x="1251474" y="7518400"/>
                </a:lnTo>
                <a:lnTo>
                  <a:pt x="1281184" y="7556500"/>
                </a:lnTo>
                <a:lnTo>
                  <a:pt x="1311186" y="7594600"/>
                </a:lnTo>
                <a:lnTo>
                  <a:pt x="1341477" y="7620000"/>
                </a:lnTo>
                <a:lnTo>
                  <a:pt x="1372056" y="7658100"/>
                </a:lnTo>
                <a:lnTo>
                  <a:pt x="1402920" y="7683500"/>
                </a:lnTo>
                <a:lnTo>
                  <a:pt x="1434068" y="7721600"/>
                </a:lnTo>
                <a:lnTo>
                  <a:pt x="1465497" y="7747000"/>
                </a:lnTo>
                <a:lnTo>
                  <a:pt x="1497206" y="7785100"/>
                </a:lnTo>
                <a:lnTo>
                  <a:pt x="1529192" y="7810500"/>
                </a:lnTo>
                <a:lnTo>
                  <a:pt x="1561454" y="7848600"/>
                </a:lnTo>
                <a:lnTo>
                  <a:pt x="1593988" y="7874000"/>
                </a:lnTo>
                <a:lnTo>
                  <a:pt x="1626795" y="7912100"/>
                </a:lnTo>
                <a:lnTo>
                  <a:pt x="1659870" y="7937500"/>
                </a:lnTo>
                <a:lnTo>
                  <a:pt x="1693213" y="7975600"/>
                </a:lnTo>
                <a:lnTo>
                  <a:pt x="1794824" y="8051800"/>
                </a:lnTo>
                <a:lnTo>
                  <a:pt x="1829216" y="8089900"/>
                </a:lnTo>
                <a:lnTo>
                  <a:pt x="1933924" y="8166100"/>
                </a:lnTo>
                <a:lnTo>
                  <a:pt x="1969331" y="8204200"/>
                </a:lnTo>
                <a:lnTo>
                  <a:pt x="2004987" y="8229600"/>
                </a:lnTo>
                <a:lnTo>
                  <a:pt x="10684988" y="8229600"/>
                </a:lnTo>
                <a:lnTo>
                  <a:pt x="10684988" y="8204200"/>
                </a:lnTo>
                <a:lnTo>
                  <a:pt x="9304082" y="6807200"/>
                </a:lnTo>
                <a:lnTo>
                  <a:pt x="4806332" y="6807200"/>
                </a:lnTo>
                <a:lnTo>
                  <a:pt x="4759008" y="6794500"/>
                </a:lnTo>
                <a:lnTo>
                  <a:pt x="4711924" y="6794500"/>
                </a:lnTo>
                <a:lnTo>
                  <a:pt x="4665089" y="6781800"/>
                </a:lnTo>
                <a:lnTo>
                  <a:pt x="4618510" y="6781800"/>
                </a:lnTo>
                <a:lnTo>
                  <a:pt x="4572194" y="6769100"/>
                </a:lnTo>
                <a:lnTo>
                  <a:pt x="4526150" y="6769100"/>
                </a:lnTo>
                <a:lnTo>
                  <a:pt x="4344838" y="6718300"/>
                </a:lnTo>
                <a:lnTo>
                  <a:pt x="4300264" y="6718300"/>
                </a:lnTo>
                <a:lnTo>
                  <a:pt x="4256008" y="6692900"/>
                </a:lnTo>
                <a:lnTo>
                  <a:pt x="4039751" y="6629400"/>
                </a:lnTo>
                <a:lnTo>
                  <a:pt x="3997559" y="6604000"/>
                </a:lnTo>
                <a:lnTo>
                  <a:pt x="3955737" y="6591300"/>
                </a:lnTo>
                <a:lnTo>
                  <a:pt x="3914293" y="6565900"/>
                </a:lnTo>
                <a:lnTo>
                  <a:pt x="3873235" y="6553200"/>
                </a:lnTo>
                <a:lnTo>
                  <a:pt x="3792308" y="6502400"/>
                </a:lnTo>
                <a:lnTo>
                  <a:pt x="3752454" y="6489700"/>
                </a:lnTo>
                <a:lnTo>
                  <a:pt x="3674004" y="6438900"/>
                </a:lnTo>
                <a:lnTo>
                  <a:pt x="3597281" y="6388100"/>
                </a:lnTo>
                <a:lnTo>
                  <a:pt x="3522347" y="6337300"/>
                </a:lnTo>
                <a:lnTo>
                  <a:pt x="3449263" y="6286500"/>
                </a:lnTo>
                <a:lnTo>
                  <a:pt x="3378090" y="6235700"/>
                </a:lnTo>
                <a:lnTo>
                  <a:pt x="3343240" y="6210300"/>
                </a:lnTo>
                <a:lnTo>
                  <a:pt x="3308890" y="6172200"/>
                </a:lnTo>
                <a:lnTo>
                  <a:pt x="3275049" y="6146800"/>
                </a:lnTo>
                <a:lnTo>
                  <a:pt x="3241724" y="6121400"/>
                </a:lnTo>
                <a:lnTo>
                  <a:pt x="3208922" y="6083300"/>
                </a:lnTo>
                <a:lnTo>
                  <a:pt x="3176652" y="6057900"/>
                </a:lnTo>
                <a:lnTo>
                  <a:pt x="3144921" y="6019800"/>
                </a:lnTo>
                <a:lnTo>
                  <a:pt x="3113736" y="5994400"/>
                </a:lnTo>
                <a:lnTo>
                  <a:pt x="3083106" y="5956300"/>
                </a:lnTo>
                <a:lnTo>
                  <a:pt x="3053038" y="5918200"/>
                </a:lnTo>
                <a:lnTo>
                  <a:pt x="3023539" y="5892800"/>
                </a:lnTo>
                <a:lnTo>
                  <a:pt x="2994618" y="5854700"/>
                </a:lnTo>
                <a:lnTo>
                  <a:pt x="2966281" y="5816600"/>
                </a:lnTo>
                <a:lnTo>
                  <a:pt x="2938537" y="5778500"/>
                </a:lnTo>
                <a:lnTo>
                  <a:pt x="2911394" y="5740400"/>
                </a:lnTo>
                <a:lnTo>
                  <a:pt x="2884858" y="5702300"/>
                </a:lnTo>
                <a:lnTo>
                  <a:pt x="2858937" y="5676900"/>
                </a:lnTo>
                <a:lnTo>
                  <a:pt x="2833640" y="5638800"/>
                </a:lnTo>
                <a:lnTo>
                  <a:pt x="2808974" y="5600700"/>
                </a:lnTo>
                <a:lnTo>
                  <a:pt x="2784946" y="5562600"/>
                </a:lnTo>
                <a:lnTo>
                  <a:pt x="2761564" y="5511800"/>
                </a:lnTo>
                <a:lnTo>
                  <a:pt x="2738837" y="5473700"/>
                </a:lnTo>
                <a:lnTo>
                  <a:pt x="2716770" y="5435600"/>
                </a:lnTo>
                <a:lnTo>
                  <a:pt x="2695373" y="5397500"/>
                </a:lnTo>
                <a:lnTo>
                  <a:pt x="2674652" y="5359400"/>
                </a:lnTo>
                <a:lnTo>
                  <a:pt x="2654616" y="5321300"/>
                </a:lnTo>
                <a:lnTo>
                  <a:pt x="2635271" y="5270500"/>
                </a:lnTo>
                <a:lnTo>
                  <a:pt x="2616627" y="5232400"/>
                </a:lnTo>
                <a:lnTo>
                  <a:pt x="2598689" y="5194300"/>
                </a:lnTo>
                <a:lnTo>
                  <a:pt x="2581467" y="5143500"/>
                </a:lnTo>
                <a:lnTo>
                  <a:pt x="2564967" y="5105400"/>
                </a:lnTo>
                <a:lnTo>
                  <a:pt x="2549198" y="5054600"/>
                </a:lnTo>
                <a:lnTo>
                  <a:pt x="2534167" y="5016500"/>
                </a:lnTo>
                <a:lnTo>
                  <a:pt x="2519881" y="4978400"/>
                </a:lnTo>
                <a:lnTo>
                  <a:pt x="2506348" y="4927600"/>
                </a:lnTo>
                <a:lnTo>
                  <a:pt x="2493576" y="4889500"/>
                </a:lnTo>
                <a:lnTo>
                  <a:pt x="2481573" y="4838700"/>
                </a:lnTo>
                <a:lnTo>
                  <a:pt x="2470346" y="4787900"/>
                </a:lnTo>
                <a:lnTo>
                  <a:pt x="2459903" y="4749800"/>
                </a:lnTo>
                <a:lnTo>
                  <a:pt x="2450251" y="4699000"/>
                </a:lnTo>
                <a:lnTo>
                  <a:pt x="2441399" y="4660900"/>
                </a:lnTo>
                <a:lnTo>
                  <a:pt x="2433353" y="4610100"/>
                </a:lnTo>
                <a:lnTo>
                  <a:pt x="2426121" y="4559300"/>
                </a:lnTo>
                <a:lnTo>
                  <a:pt x="2419712" y="4508500"/>
                </a:lnTo>
                <a:lnTo>
                  <a:pt x="2414133" y="4470400"/>
                </a:lnTo>
                <a:lnTo>
                  <a:pt x="2409391" y="4419600"/>
                </a:lnTo>
                <a:lnTo>
                  <a:pt x="2405494" y="4368800"/>
                </a:lnTo>
                <a:lnTo>
                  <a:pt x="2402449" y="4318000"/>
                </a:lnTo>
                <a:lnTo>
                  <a:pt x="2400265" y="4279900"/>
                </a:lnTo>
                <a:lnTo>
                  <a:pt x="2398949" y="4229100"/>
                </a:lnTo>
                <a:lnTo>
                  <a:pt x="2398509" y="4178300"/>
                </a:lnTo>
                <a:lnTo>
                  <a:pt x="2398949" y="4127500"/>
                </a:lnTo>
                <a:lnTo>
                  <a:pt x="2400265" y="4076700"/>
                </a:lnTo>
                <a:lnTo>
                  <a:pt x="2402449" y="4025900"/>
                </a:lnTo>
                <a:lnTo>
                  <a:pt x="2405494" y="3987800"/>
                </a:lnTo>
                <a:lnTo>
                  <a:pt x="2409391" y="3937000"/>
                </a:lnTo>
                <a:lnTo>
                  <a:pt x="2414133" y="3886200"/>
                </a:lnTo>
                <a:lnTo>
                  <a:pt x="2419712" y="3835400"/>
                </a:lnTo>
                <a:lnTo>
                  <a:pt x="2426121" y="3797300"/>
                </a:lnTo>
                <a:lnTo>
                  <a:pt x="2433353" y="3746500"/>
                </a:lnTo>
                <a:lnTo>
                  <a:pt x="2441399" y="3695700"/>
                </a:lnTo>
                <a:lnTo>
                  <a:pt x="2450251" y="3657600"/>
                </a:lnTo>
                <a:lnTo>
                  <a:pt x="2459903" y="3606800"/>
                </a:lnTo>
                <a:lnTo>
                  <a:pt x="2470346" y="3556000"/>
                </a:lnTo>
                <a:lnTo>
                  <a:pt x="2481573" y="3517900"/>
                </a:lnTo>
                <a:lnTo>
                  <a:pt x="2493576" y="3467100"/>
                </a:lnTo>
                <a:lnTo>
                  <a:pt x="2506348" y="3429000"/>
                </a:lnTo>
                <a:lnTo>
                  <a:pt x="2519881" y="3378200"/>
                </a:lnTo>
                <a:lnTo>
                  <a:pt x="2534167" y="3340100"/>
                </a:lnTo>
                <a:lnTo>
                  <a:pt x="2549198" y="3289300"/>
                </a:lnTo>
                <a:lnTo>
                  <a:pt x="2564967" y="3251200"/>
                </a:lnTo>
                <a:lnTo>
                  <a:pt x="2581467" y="3213100"/>
                </a:lnTo>
                <a:lnTo>
                  <a:pt x="2598689" y="3162300"/>
                </a:lnTo>
                <a:lnTo>
                  <a:pt x="2616627" y="3124200"/>
                </a:lnTo>
                <a:lnTo>
                  <a:pt x="2635271" y="3086100"/>
                </a:lnTo>
                <a:lnTo>
                  <a:pt x="2654616" y="3035300"/>
                </a:lnTo>
                <a:lnTo>
                  <a:pt x="2674652" y="2997200"/>
                </a:lnTo>
                <a:lnTo>
                  <a:pt x="2695373" y="2959100"/>
                </a:lnTo>
                <a:lnTo>
                  <a:pt x="2716770" y="2921000"/>
                </a:lnTo>
                <a:lnTo>
                  <a:pt x="2738837" y="2882900"/>
                </a:lnTo>
                <a:lnTo>
                  <a:pt x="2761564" y="2832100"/>
                </a:lnTo>
                <a:lnTo>
                  <a:pt x="2784946" y="2794000"/>
                </a:lnTo>
                <a:lnTo>
                  <a:pt x="2808974" y="2755900"/>
                </a:lnTo>
                <a:lnTo>
                  <a:pt x="2833640" y="2717800"/>
                </a:lnTo>
                <a:lnTo>
                  <a:pt x="2858937" y="2679700"/>
                </a:lnTo>
                <a:lnTo>
                  <a:pt x="2884858" y="2641600"/>
                </a:lnTo>
                <a:lnTo>
                  <a:pt x="2911394" y="2603500"/>
                </a:lnTo>
                <a:lnTo>
                  <a:pt x="2938537" y="2578100"/>
                </a:lnTo>
                <a:lnTo>
                  <a:pt x="2966281" y="2540000"/>
                </a:lnTo>
                <a:lnTo>
                  <a:pt x="2994618" y="2501900"/>
                </a:lnTo>
                <a:lnTo>
                  <a:pt x="3023539" y="2463800"/>
                </a:lnTo>
                <a:lnTo>
                  <a:pt x="3053038" y="2438400"/>
                </a:lnTo>
                <a:lnTo>
                  <a:pt x="3083106" y="2400300"/>
                </a:lnTo>
                <a:lnTo>
                  <a:pt x="3113736" y="2362200"/>
                </a:lnTo>
                <a:lnTo>
                  <a:pt x="3144921" y="2336800"/>
                </a:lnTo>
                <a:lnTo>
                  <a:pt x="3176652" y="2298700"/>
                </a:lnTo>
                <a:lnTo>
                  <a:pt x="3208922" y="2273300"/>
                </a:lnTo>
                <a:lnTo>
                  <a:pt x="3241724" y="2235200"/>
                </a:lnTo>
                <a:lnTo>
                  <a:pt x="3275049" y="2209800"/>
                </a:lnTo>
                <a:lnTo>
                  <a:pt x="3308890" y="2184400"/>
                </a:lnTo>
                <a:lnTo>
                  <a:pt x="3343240" y="2146300"/>
                </a:lnTo>
                <a:lnTo>
                  <a:pt x="3378090" y="2120900"/>
                </a:lnTo>
                <a:lnTo>
                  <a:pt x="3449263" y="2070100"/>
                </a:lnTo>
                <a:lnTo>
                  <a:pt x="3485570" y="2044700"/>
                </a:lnTo>
                <a:lnTo>
                  <a:pt x="3522347" y="2006600"/>
                </a:lnTo>
                <a:lnTo>
                  <a:pt x="3597281" y="1955800"/>
                </a:lnTo>
                <a:lnTo>
                  <a:pt x="3635423" y="1943100"/>
                </a:lnTo>
                <a:lnTo>
                  <a:pt x="3713017" y="1892300"/>
                </a:lnTo>
                <a:lnTo>
                  <a:pt x="3792308" y="1841500"/>
                </a:lnTo>
                <a:lnTo>
                  <a:pt x="3832571" y="1828800"/>
                </a:lnTo>
                <a:lnTo>
                  <a:pt x="3873235" y="1803400"/>
                </a:lnTo>
                <a:lnTo>
                  <a:pt x="3914293" y="1790700"/>
                </a:lnTo>
                <a:lnTo>
                  <a:pt x="3955737" y="1765300"/>
                </a:lnTo>
                <a:lnTo>
                  <a:pt x="3997559" y="1752600"/>
                </a:lnTo>
                <a:lnTo>
                  <a:pt x="4039751" y="1727200"/>
                </a:lnTo>
                <a:lnTo>
                  <a:pt x="4168478" y="1689100"/>
                </a:lnTo>
                <a:lnTo>
                  <a:pt x="4212077" y="1663700"/>
                </a:lnTo>
                <a:lnTo>
                  <a:pt x="4389721" y="1612900"/>
                </a:lnTo>
                <a:lnTo>
                  <a:pt x="4434906" y="1612900"/>
                </a:lnTo>
                <a:lnTo>
                  <a:pt x="4526150" y="1587500"/>
                </a:lnTo>
                <a:lnTo>
                  <a:pt x="4572194" y="1587500"/>
                </a:lnTo>
                <a:lnTo>
                  <a:pt x="4665089" y="1562100"/>
                </a:lnTo>
                <a:lnTo>
                  <a:pt x="4759008" y="1562100"/>
                </a:lnTo>
                <a:lnTo>
                  <a:pt x="4806332" y="1549400"/>
                </a:lnTo>
                <a:lnTo>
                  <a:pt x="9266251" y="1549400"/>
                </a:lnTo>
                <a:lnTo>
                  <a:pt x="9250619" y="1524000"/>
                </a:lnTo>
                <a:lnTo>
                  <a:pt x="9226838" y="1485900"/>
                </a:lnTo>
                <a:lnTo>
                  <a:pt x="9202727" y="1447800"/>
                </a:lnTo>
                <a:lnTo>
                  <a:pt x="9178288" y="1409700"/>
                </a:lnTo>
                <a:lnTo>
                  <a:pt x="9153522" y="1371600"/>
                </a:lnTo>
                <a:lnTo>
                  <a:pt x="9128433" y="1333500"/>
                </a:lnTo>
                <a:lnTo>
                  <a:pt x="9103020" y="1295400"/>
                </a:lnTo>
                <a:lnTo>
                  <a:pt x="9077288" y="1257300"/>
                </a:lnTo>
                <a:lnTo>
                  <a:pt x="9051238" y="1219200"/>
                </a:lnTo>
                <a:lnTo>
                  <a:pt x="9024871" y="1181100"/>
                </a:lnTo>
                <a:lnTo>
                  <a:pt x="8998190" y="1143000"/>
                </a:lnTo>
                <a:lnTo>
                  <a:pt x="8971197" y="1117600"/>
                </a:lnTo>
                <a:lnTo>
                  <a:pt x="8943895" y="1079500"/>
                </a:lnTo>
                <a:lnTo>
                  <a:pt x="8916284" y="1041400"/>
                </a:lnTo>
                <a:lnTo>
                  <a:pt x="8888367" y="1003300"/>
                </a:lnTo>
                <a:lnTo>
                  <a:pt x="8860146" y="965200"/>
                </a:lnTo>
                <a:lnTo>
                  <a:pt x="8831624" y="939800"/>
                </a:lnTo>
                <a:lnTo>
                  <a:pt x="8802801" y="901700"/>
                </a:lnTo>
                <a:lnTo>
                  <a:pt x="8773681" y="863600"/>
                </a:lnTo>
                <a:lnTo>
                  <a:pt x="8744265" y="838200"/>
                </a:lnTo>
                <a:lnTo>
                  <a:pt x="8714556" y="800100"/>
                </a:lnTo>
                <a:lnTo>
                  <a:pt x="8684554" y="762000"/>
                </a:lnTo>
                <a:lnTo>
                  <a:pt x="8654263" y="736600"/>
                </a:lnTo>
                <a:lnTo>
                  <a:pt x="8623685" y="698500"/>
                </a:lnTo>
                <a:lnTo>
                  <a:pt x="8592820" y="660400"/>
                </a:lnTo>
                <a:lnTo>
                  <a:pt x="8561673" y="635000"/>
                </a:lnTo>
                <a:lnTo>
                  <a:pt x="8530243" y="596900"/>
                </a:lnTo>
                <a:lnTo>
                  <a:pt x="8498535" y="571500"/>
                </a:lnTo>
                <a:lnTo>
                  <a:pt x="8466549" y="533400"/>
                </a:lnTo>
                <a:lnTo>
                  <a:pt x="8434287" y="508000"/>
                </a:lnTo>
                <a:lnTo>
                  <a:pt x="8401752" y="469900"/>
                </a:lnTo>
                <a:lnTo>
                  <a:pt x="8335871" y="419100"/>
                </a:lnTo>
                <a:lnTo>
                  <a:pt x="8302528" y="381000"/>
                </a:lnTo>
                <a:lnTo>
                  <a:pt x="8235049" y="330200"/>
                </a:lnTo>
                <a:lnTo>
                  <a:pt x="8200917" y="292100"/>
                </a:lnTo>
                <a:lnTo>
                  <a:pt x="8096975" y="215900"/>
                </a:lnTo>
                <a:lnTo>
                  <a:pt x="8061819" y="177800"/>
                </a:lnTo>
                <a:lnTo>
                  <a:pt x="7918705" y="76200"/>
                </a:lnTo>
                <a:lnTo>
                  <a:pt x="7845683" y="25400"/>
                </a:lnTo>
                <a:lnTo>
                  <a:pt x="7823267" y="0"/>
                </a:lnTo>
                <a:close/>
              </a:path>
              <a:path w="10685144" h="8229600">
                <a:moveTo>
                  <a:pt x="9266251" y="1549400"/>
                </a:moveTo>
                <a:lnTo>
                  <a:pt x="5189435" y="1549400"/>
                </a:lnTo>
                <a:lnTo>
                  <a:pt x="5236760" y="1562100"/>
                </a:lnTo>
                <a:lnTo>
                  <a:pt x="5330680" y="1562100"/>
                </a:lnTo>
                <a:lnTo>
                  <a:pt x="5423577" y="1587500"/>
                </a:lnTo>
                <a:lnTo>
                  <a:pt x="5469622" y="1587500"/>
                </a:lnTo>
                <a:lnTo>
                  <a:pt x="5560867" y="1612900"/>
                </a:lnTo>
                <a:lnTo>
                  <a:pt x="5606052" y="1612900"/>
                </a:lnTo>
                <a:lnTo>
                  <a:pt x="5783698" y="1663700"/>
                </a:lnTo>
                <a:lnTo>
                  <a:pt x="5827297" y="1689100"/>
                </a:lnTo>
                <a:lnTo>
                  <a:pt x="5956023" y="1727200"/>
                </a:lnTo>
                <a:lnTo>
                  <a:pt x="5998216" y="1752600"/>
                </a:lnTo>
                <a:lnTo>
                  <a:pt x="6040038" y="1765300"/>
                </a:lnTo>
                <a:lnTo>
                  <a:pt x="6081482" y="1790700"/>
                </a:lnTo>
                <a:lnTo>
                  <a:pt x="6122539" y="1803400"/>
                </a:lnTo>
                <a:lnTo>
                  <a:pt x="6163203" y="1828800"/>
                </a:lnTo>
                <a:lnTo>
                  <a:pt x="6203466" y="1841500"/>
                </a:lnTo>
                <a:lnTo>
                  <a:pt x="6282756" y="1892300"/>
                </a:lnTo>
                <a:lnTo>
                  <a:pt x="6360350" y="1943100"/>
                </a:lnTo>
                <a:lnTo>
                  <a:pt x="6398491" y="1955800"/>
                </a:lnTo>
                <a:lnTo>
                  <a:pt x="6473424" y="2006600"/>
                </a:lnTo>
                <a:lnTo>
                  <a:pt x="6510200" y="2044700"/>
                </a:lnTo>
                <a:lnTo>
                  <a:pt x="6546507" y="2070100"/>
                </a:lnTo>
                <a:lnTo>
                  <a:pt x="6617678" y="2120900"/>
                </a:lnTo>
                <a:lnTo>
                  <a:pt x="6652528" y="2146300"/>
                </a:lnTo>
                <a:lnTo>
                  <a:pt x="6686877" y="2184400"/>
                </a:lnTo>
                <a:lnTo>
                  <a:pt x="6720718" y="2209800"/>
                </a:lnTo>
                <a:lnTo>
                  <a:pt x="6754042" y="2235200"/>
                </a:lnTo>
                <a:lnTo>
                  <a:pt x="6786843" y="2273300"/>
                </a:lnTo>
                <a:lnTo>
                  <a:pt x="6819113" y="2298700"/>
                </a:lnTo>
                <a:lnTo>
                  <a:pt x="6850843" y="2336800"/>
                </a:lnTo>
                <a:lnTo>
                  <a:pt x="6882027" y="2362200"/>
                </a:lnTo>
                <a:lnTo>
                  <a:pt x="6912656" y="2400300"/>
                </a:lnTo>
                <a:lnTo>
                  <a:pt x="6942724" y="2438400"/>
                </a:lnTo>
                <a:lnTo>
                  <a:pt x="6972222" y="2463800"/>
                </a:lnTo>
                <a:lnTo>
                  <a:pt x="7001142" y="2501900"/>
                </a:lnTo>
                <a:lnTo>
                  <a:pt x="7029478" y="2540000"/>
                </a:lnTo>
                <a:lnTo>
                  <a:pt x="7057221" y="2578100"/>
                </a:lnTo>
                <a:lnTo>
                  <a:pt x="7084364" y="2603500"/>
                </a:lnTo>
                <a:lnTo>
                  <a:pt x="7110899" y="2641600"/>
                </a:lnTo>
                <a:lnTo>
                  <a:pt x="7136818" y="2679700"/>
                </a:lnTo>
                <a:lnTo>
                  <a:pt x="7162115" y="2717800"/>
                </a:lnTo>
                <a:lnTo>
                  <a:pt x="7186780" y="2755900"/>
                </a:lnTo>
                <a:lnTo>
                  <a:pt x="7210807" y="2794000"/>
                </a:lnTo>
                <a:lnTo>
                  <a:pt x="7234188" y="2832100"/>
                </a:lnTo>
                <a:lnTo>
                  <a:pt x="7256915" y="2882900"/>
                </a:lnTo>
                <a:lnTo>
                  <a:pt x="7278981" y="2921000"/>
                </a:lnTo>
                <a:lnTo>
                  <a:pt x="7300378" y="2959100"/>
                </a:lnTo>
                <a:lnTo>
                  <a:pt x="7321097" y="2997200"/>
                </a:lnTo>
                <a:lnTo>
                  <a:pt x="7341133" y="3035300"/>
                </a:lnTo>
                <a:lnTo>
                  <a:pt x="7360477" y="3086100"/>
                </a:lnTo>
                <a:lnTo>
                  <a:pt x="7379120" y="3124200"/>
                </a:lnTo>
                <a:lnTo>
                  <a:pt x="7397057" y="3162300"/>
                </a:lnTo>
                <a:lnTo>
                  <a:pt x="7414279" y="3213100"/>
                </a:lnTo>
                <a:lnTo>
                  <a:pt x="7430778" y="3251200"/>
                </a:lnTo>
                <a:lnTo>
                  <a:pt x="7446546" y="3289300"/>
                </a:lnTo>
                <a:lnTo>
                  <a:pt x="7461577" y="3340100"/>
                </a:lnTo>
                <a:lnTo>
                  <a:pt x="7475862" y="3378200"/>
                </a:lnTo>
                <a:lnTo>
                  <a:pt x="7489394" y="3429000"/>
                </a:lnTo>
                <a:lnTo>
                  <a:pt x="7502166" y="3467100"/>
                </a:lnTo>
                <a:lnTo>
                  <a:pt x="7514168" y="3517900"/>
                </a:lnTo>
                <a:lnTo>
                  <a:pt x="7525395" y="3556000"/>
                </a:lnTo>
                <a:lnTo>
                  <a:pt x="7535837" y="3606800"/>
                </a:lnTo>
                <a:lnTo>
                  <a:pt x="7545489" y="3657600"/>
                </a:lnTo>
                <a:lnTo>
                  <a:pt x="7554341" y="3695700"/>
                </a:lnTo>
                <a:lnTo>
                  <a:pt x="7562386" y="3746500"/>
                </a:lnTo>
                <a:lnTo>
                  <a:pt x="7569617" y="3797300"/>
                </a:lnTo>
                <a:lnTo>
                  <a:pt x="7576026" y="3835400"/>
                </a:lnTo>
                <a:lnTo>
                  <a:pt x="7581605" y="3886200"/>
                </a:lnTo>
                <a:lnTo>
                  <a:pt x="7586347" y="3937000"/>
                </a:lnTo>
                <a:lnTo>
                  <a:pt x="7590244" y="3987800"/>
                </a:lnTo>
                <a:lnTo>
                  <a:pt x="7593288" y="4025900"/>
                </a:lnTo>
                <a:lnTo>
                  <a:pt x="7595472" y="4076700"/>
                </a:lnTo>
                <a:lnTo>
                  <a:pt x="7596788" y="4127500"/>
                </a:lnTo>
                <a:lnTo>
                  <a:pt x="7597228" y="4178300"/>
                </a:lnTo>
                <a:lnTo>
                  <a:pt x="7596788" y="4229100"/>
                </a:lnTo>
                <a:lnTo>
                  <a:pt x="7595472" y="4279900"/>
                </a:lnTo>
                <a:lnTo>
                  <a:pt x="7593288" y="4318000"/>
                </a:lnTo>
                <a:lnTo>
                  <a:pt x="7590244" y="4368800"/>
                </a:lnTo>
                <a:lnTo>
                  <a:pt x="7586347" y="4419600"/>
                </a:lnTo>
                <a:lnTo>
                  <a:pt x="7581605" y="4470400"/>
                </a:lnTo>
                <a:lnTo>
                  <a:pt x="7576026" y="4508500"/>
                </a:lnTo>
                <a:lnTo>
                  <a:pt x="7569617" y="4559300"/>
                </a:lnTo>
                <a:lnTo>
                  <a:pt x="7562386" y="4610100"/>
                </a:lnTo>
                <a:lnTo>
                  <a:pt x="7554341" y="4660900"/>
                </a:lnTo>
                <a:lnTo>
                  <a:pt x="7545489" y="4699000"/>
                </a:lnTo>
                <a:lnTo>
                  <a:pt x="7535837" y="4749800"/>
                </a:lnTo>
                <a:lnTo>
                  <a:pt x="7525395" y="4787900"/>
                </a:lnTo>
                <a:lnTo>
                  <a:pt x="7514168" y="4838700"/>
                </a:lnTo>
                <a:lnTo>
                  <a:pt x="7502166" y="4889500"/>
                </a:lnTo>
                <a:lnTo>
                  <a:pt x="7489394" y="4927600"/>
                </a:lnTo>
                <a:lnTo>
                  <a:pt x="7475862" y="4978400"/>
                </a:lnTo>
                <a:lnTo>
                  <a:pt x="7461577" y="5016500"/>
                </a:lnTo>
                <a:lnTo>
                  <a:pt x="7446546" y="5054600"/>
                </a:lnTo>
                <a:lnTo>
                  <a:pt x="7430778" y="5105400"/>
                </a:lnTo>
                <a:lnTo>
                  <a:pt x="7414279" y="5143500"/>
                </a:lnTo>
                <a:lnTo>
                  <a:pt x="7397057" y="5194300"/>
                </a:lnTo>
                <a:lnTo>
                  <a:pt x="7379120" y="5232400"/>
                </a:lnTo>
                <a:lnTo>
                  <a:pt x="7360477" y="5270500"/>
                </a:lnTo>
                <a:lnTo>
                  <a:pt x="7341133" y="5321300"/>
                </a:lnTo>
                <a:lnTo>
                  <a:pt x="7321097" y="5359400"/>
                </a:lnTo>
                <a:lnTo>
                  <a:pt x="7300378" y="5397500"/>
                </a:lnTo>
                <a:lnTo>
                  <a:pt x="7278981" y="5435600"/>
                </a:lnTo>
                <a:lnTo>
                  <a:pt x="7256915" y="5473700"/>
                </a:lnTo>
                <a:lnTo>
                  <a:pt x="7234188" y="5511800"/>
                </a:lnTo>
                <a:lnTo>
                  <a:pt x="7210807" y="5562600"/>
                </a:lnTo>
                <a:lnTo>
                  <a:pt x="7186780" y="5600700"/>
                </a:lnTo>
                <a:lnTo>
                  <a:pt x="7162115" y="5638800"/>
                </a:lnTo>
                <a:lnTo>
                  <a:pt x="7136818" y="5676900"/>
                </a:lnTo>
                <a:lnTo>
                  <a:pt x="7110899" y="5702300"/>
                </a:lnTo>
                <a:lnTo>
                  <a:pt x="7084364" y="5740400"/>
                </a:lnTo>
                <a:lnTo>
                  <a:pt x="7057221" y="5778500"/>
                </a:lnTo>
                <a:lnTo>
                  <a:pt x="7029478" y="5816600"/>
                </a:lnTo>
                <a:lnTo>
                  <a:pt x="7001142" y="5854700"/>
                </a:lnTo>
                <a:lnTo>
                  <a:pt x="6972222" y="5892800"/>
                </a:lnTo>
                <a:lnTo>
                  <a:pt x="6942724" y="5918200"/>
                </a:lnTo>
                <a:lnTo>
                  <a:pt x="6912656" y="5956300"/>
                </a:lnTo>
                <a:lnTo>
                  <a:pt x="6882027" y="5994400"/>
                </a:lnTo>
                <a:lnTo>
                  <a:pt x="6850843" y="6019800"/>
                </a:lnTo>
                <a:lnTo>
                  <a:pt x="6819113" y="6057900"/>
                </a:lnTo>
                <a:lnTo>
                  <a:pt x="6786843" y="6083300"/>
                </a:lnTo>
                <a:lnTo>
                  <a:pt x="6754042" y="6121400"/>
                </a:lnTo>
                <a:lnTo>
                  <a:pt x="6720718" y="6146800"/>
                </a:lnTo>
                <a:lnTo>
                  <a:pt x="6686877" y="6172200"/>
                </a:lnTo>
                <a:lnTo>
                  <a:pt x="6652528" y="6210300"/>
                </a:lnTo>
                <a:lnTo>
                  <a:pt x="6617678" y="6235700"/>
                </a:lnTo>
                <a:lnTo>
                  <a:pt x="6546507" y="6286500"/>
                </a:lnTo>
                <a:lnTo>
                  <a:pt x="6473424" y="6337300"/>
                </a:lnTo>
                <a:lnTo>
                  <a:pt x="6398491" y="6388100"/>
                </a:lnTo>
                <a:lnTo>
                  <a:pt x="6321769" y="6438900"/>
                </a:lnTo>
                <a:lnTo>
                  <a:pt x="6243319" y="6489700"/>
                </a:lnTo>
                <a:lnTo>
                  <a:pt x="6203466" y="6502400"/>
                </a:lnTo>
                <a:lnTo>
                  <a:pt x="6122539" y="6553200"/>
                </a:lnTo>
                <a:lnTo>
                  <a:pt x="6081482" y="6565900"/>
                </a:lnTo>
                <a:lnTo>
                  <a:pt x="6040038" y="6591300"/>
                </a:lnTo>
                <a:lnTo>
                  <a:pt x="5998216" y="6604000"/>
                </a:lnTo>
                <a:lnTo>
                  <a:pt x="5956023" y="6629400"/>
                </a:lnTo>
                <a:lnTo>
                  <a:pt x="5739766" y="6692900"/>
                </a:lnTo>
                <a:lnTo>
                  <a:pt x="5695510" y="6718300"/>
                </a:lnTo>
                <a:lnTo>
                  <a:pt x="5650936" y="6718300"/>
                </a:lnTo>
                <a:lnTo>
                  <a:pt x="5469622" y="6769100"/>
                </a:lnTo>
                <a:lnTo>
                  <a:pt x="5423577" y="6769100"/>
                </a:lnTo>
                <a:lnTo>
                  <a:pt x="5377260" y="6781800"/>
                </a:lnTo>
                <a:lnTo>
                  <a:pt x="5330680" y="6781800"/>
                </a:lnTo>
                <a:lnTo>
                  <a:pt x="5283845" y="6794500"/>
                </a:lnTo>
                <a:lnTo>
                  <a:pt x="5236760" y="6794500"/>
                </a:lnTo>
                <a:lnTo>
                  <a:pt x="5189435" y="6807200"/>
                </a:lnTo>
                <a:lnTo>
                  <a:pt x="9304082" y="6807200"/>
                </a:lnTo>
                <a:lnTo>
                  <a:pt x="9278975" y="6781800"/>
                </a:lnTo>
                <a:lnTo>
                  <a:pt x="9303589" y="6743700"/>
                </a:lnTo>
                <a:lnTo>
                  <a:pt x="9327819" y="6705600"/>
                </a:lnTo>
                <a:lnTo>
                  <a:pt x="9351661" y="6654800"/>
                </a:lnTo>
                <a:lnTo>
                  <a:pt x="9375113" y="6616700"/>
                </a:lnTo>
                <a:lnTo>
                  <a:pt x="9398173" y="6578600"/>
                </a:lnTo>
                <a:lnTo>
                  <a:pt x="9420838" y="6527800"/>
                </a:lnTo>
                <a:lnTo>
                  <a:pt x="9443105" y="6489700"/>
                </a:lnTo>
                <a:lnTo>
                  <a:pt x="9464973" y="6438900"/>
                </a:lnTo>
                <a:lnTo>
                  <a:pt x="9486438" y="6400800"/>
                </a:lnTo>
                <a:lnTo>
                  <a:pt x="9507499" y="6362700"/>
                </a:lnTo>
                <a:lnTo>
                  <a:pt x="9528152" y="6311900"/>
                </a:lnTo>
                <a:lnTo>
                  <a:pt x="9548395" y="6273800"/>
                </a:lnTo>
                <a:lnTo>
                  <a:pt x="9568226" y="6223000"/>
                </a:lnTo>
                <a:lnTo>
                  <a:pt x="9587642" y="6184900"/>
                </a:lnTo>
                <a:lnTo>
                  <a:pt x="9606641" y="6134100"/>
                </a:lnTo>
                <a:lnTo>
                  <a:pt x="9625220" y="6083300"/>
                </a:lnTo>
                <a:lnTo>
                  <a:pt x="9643377" y="6045200"/>
                </a:lnTo>
                <a:lnTo>
                  <a:pt x="9661109" y="5994400"/>
                </a:lnTo>
                <a:lnTo>
                  <a:pt x="9678413" y="5956300"/>
                </a:lnTo>
                <a:lnTo>
                  <a:pt x="9695288" y="5905500"/>
                </a:lnTo>
                <a:lnTo>
                  <a:pt x="9711730" y="5854700"/>
                </a:lnTo>
                <a:lnTo>
                  <a:pt x="9727738" y="5816600"/>
                </a:lnTo>
                <a:lnTo>
                  <a:pt x="9743308" y="5765800"/>
                </a:lnTo>
                <a:lnTo>
                  <a:pt x="9758439" y="5715000"/>
                </a:lnTo>
                <a:lnTo>
                  <a:pt x="9773127" y="5676900"/>
                </a:lnTo>
                <a:lnTo>
                  <a:pt x="9787371" y="5626100"/>
                </a:lnTo>
                <a:lnTo>
                  <a:pt x="9801167" y="5575300"/>
                </a:lnTo>
                <a:lnTo>
                  <a:pt x="9814514" y="5524500"/>
                </a:lnTo>
                <a:lnTo>
                  <a:pt x="9827408" y="5486400"/>
                </a:lnTo>
                <a:lnTo>
                  <a:pt x="9839847" y="5435600"/>
                </a:lnTo>
                <a:lnTo>
                  <a:pt x="9851830" y="5384800"/>
                </a:lnTo>
                <a:lnTo>
                  <a:pt x="9863352" y="5334000"/>
                </a:lnTo>
                <a:lnTo>
                  <a:pt x="9874412" y="5283200"/>
                </a:lnTo>
                <a:lnTo>
                  <a:pt x="9885008" y="5245100"/>
                </a:lnTo>
                <a:lnTo>
                  <a:pt x="9895136" y="5194300"/>
                </a:lnTo>
                <a:lnTo>
                  <a:pt x="9904795" y="5143500"/>
                </a:lnTo>
                <a:lnTo>
                  <a:pt x="9913981" y="5092700"/>
                </a:lnTo>
                <a:lnTo>
                  <a:pt x="9922692" y="5041900"/>
                </a:lnTo>
                <a:lnTo>
                  <a:pt x="9930927" y="4991100"/>
                </a:lnTo>
                <a:lnTo>
                  <a:pt x="9938681" y="4940300"/>
                </a:lnTo>
                <a:lnTo>
                  <a:pt x="9945954" y="4889500"/>
                </a:lnTo>
                <a:lnTo>
                  <a:pt x="9952741" y="4838700"/>
                </a:lnTo>
                <a:lnTo>
                  <a:pt x="9959042" y="4787900"/>
                </a:lnTo>
                <a:lnTo>
                  <a:pt x="9964853" y="4737100"/>
                </a:lnTo>
                <a:lnTo>
                  <a:pt x="9970171" y="4686300"/>
                </a:lnTo>
                <a:lnTo>
                  <a:pt x="9974995" y="4635500"/>
                </a:lnTo>
                <a:lnTo>
                  <a:pt x="9979322" y="4584700"/>
                </a:lnTo>
                <a:lnTo>
                  <a:pt x="9983149" y="4533900"/>
                </a:lnTo>
                <a:lnTo>
                  <a:pt x="9986474" y="4483100"/>
                </a:lnTo>
                <a:lnTo>
                  <a:pt x="9989294" y="4432300"/>
                </a:lnTo>
                <a:lnTo>
                  <a:pt x="9991607" y="4381500"/>
                </a:lnTo>
                <a:lnTo>
                  <a:pt x="9993411" y="4330700"/>
                </a:lnTo>
                <a:lnTo>
                  <a:pt x="9994702" y="4279900"/>
                </a:lnTo>
                <a:lnTo>
                  <a:pt x="9995478" y="4229100"/>
                </a:lnTo>
                <a:lnTo>
                  <a:pt x="9995738" y="4178300"/>
                </a:lnTo>
                <a:lnTo>
                  <a:pt x="9995511" y="4127500"/>
                </a:lnTo>
                <a:lnTo>
                  <a:pt x="9994831" y="4076700"/>
                </a:lnTo>
                <a:lnTo>
                  <a:pt x="9993701" y="4025900"/>
                </a:lnTo>
                <a:lnTo>
                  <a:pt x="9992122" y="3987800"/>
                </a:lnTo>
                <a:lnTo>
                  <a:pt x="9990096" y="3937000"/>
                </a:lnTo>
                <a:lnTo>
                  <a:pt x="9987626" y="3886200"/>
                </a:lnTo>
                <a:lnTo>
                  <a:pt x="9984714" y="3835400"/>
                </a:lnTo>
                <a:lnTo>
                  <a:pt x="9981361" y="3797300"/>
                </a:lnTo>
                <a:lnTo>
                  <a:pt x="9977569" y="3746500"/>
                </a:lnTo>
                <a:lnTo>
                  <a:pt x="9973342" y="3695700"/>
                </a:lnTo>
                <a:lnTo>
                  <a:pt x="9968680" y="3644900"/>
                </a:lnTo>
                <a:lnTo>
                  <a:pt x="9963585" y="3606800"/>
                </a:lnTo>
                <a:lnTo>
                  <a:pt x="9958061" y="3556000"/>
                </a:lnTo>
                <a:lnTo>
                  <a:pt x="9952108" y="3505200"/>
                </a:lnTo>
                <a:lnTo>
                  <a:pt x="9945729" y="3454400"/>
                </a:lnTo>
                <a:lnTo>
                  <a:pt x="9938926" y="3416300"/>
                </a:lnTo>
                <a:lnTo>
                  <a:pt x="9931700" y="3365500"/>
                </a:lnTo>
                <a:lnTo>
                  <a:pt x="9924055" y="3314700"/>
                </a:lnTo>
                <a:lnTo>
                  <a:pt x="9915992" y="3276600"/>
                </a:lnTo>
                <a:lnTo>
                  <a:pt x="9907512" y="3225800"/>
                </a:lnTo>
                <a:lnTo>
                  <a:pt x="9898619" y="3187700"/>
                </a:lnTo>
                <a:lnTo>
                  <a:pt x="9889314" y="3136900"/>
                </a:lnTo>
                <a:lnTo>
                  <a:pt x="9879599" y="3086100"/>
                </a:lnTo>
                <a:lnTo>
                  <a:pt x="9869476" y="3048000"/>
                </a:lnTo>
                <a:lnTo>
                  <a:pt x="9858947" y="2997200"/>
                </a:lnTo>
                <a:lnTo>
                  <a:pt x="9848015" y="2959100"/>
                </a:lnTo>
                <a:lnTo>
                  <a:pt x="9836680" y="2908300"/>
                </a:lnTo>
                <a:lnTo>
                  <a:pt x="9824946" y="2870200"/>
                </a:lnTo>
                <a:lnTo>
                  <a:pt x="9812815" y="2819400"/>
                </a:lnTo>
                <a:lnTo>
                  <a:pt x="9800288" y="2768600"/>
                </a:lnTo>
                <a:lnTo>
                  <a:pt x="9787367" y="2730500"/>
                </a:lnTo>
                <a:lnTo>
                  <a:pt x="9774055" y="2679700"/>
                </a:lnTo>
                <a:lnTo>
                  <a:pt x="9760353" y="2641600"/>
                </a:lnTo>
                <a:lnTo>
                  <a:pt x="9746263" y="2603500"/>
                </a:lnTo>
                <a:lnTo>
                  <a:pt x="9731789" y="2552700"/>
                </a:lnTo>
                <a:lnTo>
                  <a:pt x="9716931" y="2514600"/>
                </a:lnTo>
                <a:lnTo>
                  <a:pt x="9701691" y="2463800"/>
                </a:lnTo>
                <a:lnTo>
                  <a:pt x="9686072" y="2425700"/>
                </a:lnTo>
                <a:lnTo>
                  <a:pt x="9670076" y="2374900"/>
                </a:lnTo>
                <a:lnTo>
                  <a:pt x="9653705" y="2336800"/>
                </a:lnTo>
                <a:lnTo>
                  <a:pt x="9636961" y="2298700"/>
                </a:lnTo>
                <a:lnTo>
                  <a:pt x="9619845" y="2247900"/>
                </a:lnTo>
                <a:lnTo>
                  <a:pt x="9602360" y="2209800"/>
                </a:lnTo>
                <a:lnTo>
                  <a:pt x="9584509" y="2171700"/>
                </a:lnTo>
                <a:lnTo>
                  <a:pt x="9566292" y="2120900"/>
                </a:lnTo>
                <a:lnTo>
                  <a:pt x="9547712" y="2082800"/>
                </a:lnTo>
                <a:lnTo>
                  <a:pt x="9528771" y="2044700"/>
                </a:lnTo>
                <a:lnTo>
                  <a:pt x="9509471" y="2006600"/>
                </a:lnTo>
                <a:lnTo>
                  <a:pt x="9489814" y="1955800"/>
                </a:lnTo>
                <a:lnTo>
                  <a:pt x="9469803" y="1917700"/>
                </a:lnTo>
                <a:lnTo>
                  <a:pt x="9449439" y="1879600"/>
                </a:lnTo>
                <a:lnTo>
                  <a:pt x="9428723" y="1841500"/>
                </a:lnTo>
                <a:lnTo>
                  <a:pt x="9407660" y="1803400"/>
                </a:lnTo>
                <a:lnTo>
                  <a:pt x="9386249" y="1752600"/>
                </a:lnTo>
                <a:lnTo>
                  <a:pt x="9364494" y="1714500"/>
                </a:lnTo>
                <a:lnTo>
                  <a:pt x="9342396" y="1676400"/>
                </a:lnTo>
                <a:lnTo>
                  <a:pt x="9319957" y="1638300"/>
                </a:lnTo>
                <a:lnTo>
                  <a:pt x="9297180" y="1600200"/>
                </a:lnTo>
                <a:lnTo>
                  <a:pt x="9274067" y="1562100"/>
                </a:lnTo>
                <a:lnTo>
                  <a:pt x="9266251" y="1549400"/>
                </a:lnTo>
                <a:close/>
              </a:path>
            </a:pathLst>
          </a:custGeom>
          <a:solidFill>
            <a:srgbClr val="2C6CF6">
              <a:alpha val="11997"/>
            </a:srgbClr>
          </a:solidFill>
        </p:spPr>
        <p:txBody>
          <a:bodyPr wrap="square" lIns="0" tIns="0" rIns="0" bIns="0" rtlCol="0"/>
          <a:lstStyle/>
          <a:p>
            <a:endParaRPr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a:ln>
            <a:noFill/>
          </a:ln>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a:ln>
            <a:noFill/>
          </a:ln>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grpSp>
        <p:nvGrpSpPr>
          <p:cNvPr id="9" name="Group 8">
            <a:extLst>
              <a:ext uri="{FF2B5EF4-FFF2-40B4-BE49-F238E27FC236}">
                <a16:creationId xmlns:a16="http://schemas.microsoft.com/office/drawing/2014/main" id="{16772E64-848D-E11A-25E5-C0C9EF0FD4A4}"/>
              </a:ext>
            </a:extLst>
          </p:cNvPr>
          <p:cNvGrpSpPr/>
          <p:nvPr userDrawn="1"/>
        </p:nvGrpSpPr>
        <p:grpSpPr>
          <a:xfrm>
            <a:off x="2669837" y="1522425"/>
            <a:ext cx="6852326" cy="2755944"/>
            <a:chOff x="288558" y="1942832"/>
            <a:chExt cx="6852326" cy="2755944"/>
          </a:xfrm>
        </p:grpSpPr>
        <p:sp>
          <p:nvSpPr>
            <p:cNvPr id="5" name="TextBox 4">
              <a:extLst>
                <a:ext uri="{FF2B5EF4-FFF2-40B4-BE49-F238E27FC236}">
                  <a16:creationId xmlns:a16="http://schemas.microsoft.com/office/drawing/2014/main" id="{9E788ED0-C34D-9A83-6510-E8B6FB8024CD}"/>
                </a:ext>
              </a:extLst>
            </p:cNvPr>
            <p:cNvSpPr txBox="1"/>
            <p:nvPr userDrawn="1"/>
          </p:nvSpPr>
          <p:spPr>
            <a:xfrm>
              <a:off x="288558" y="2118244"/>
              <a:ext cx="6852326" cy="2580532"/>
            </a:xfrm>
            <a:prstGeom prst="rect">
              <a:avLst/>
            </a:prstGeom>
            <a:noFill/>
          </p:spPr>
          <p:txBody>
            <a:bodyPr wrap="square" lIns="0" rIns="0" rtlCol="0" anchor="b">
              <a:noAutofit/>
            </a:bodyPr>
            <a:lstStyle/>
            <a:p>
              <a:pPr algn="l">
                <a:spcAft>
                  <a:spcPts val="600"/>
                </a:spcAft>
              </a:pPr>
              <a:r>
                <a:rPr lang="en-US" sz="4400" i="0" dirty="0">
                  <a:solidFill>
                    <a:schemeClr val="tx1">
                      <a:lumMod val="20000"/>
                      <a:lumOff val="80000"/>
                    </a:schemeClr>
                  </a:solidFill>
                  <a:latin typeface="Georgia" panose="02040502050405020303" pitchFamily="18" charset="0"/>
                </a:rPr>
                <a:t>We’re entering a new era </a:t>
              </a:r>
              <a:br>
                <a:rPr lang="en-US" sz="4400" i="0" dirty="0">
                  <a:solidFill>
                    <a:schemeClr val="tx1">
                      <a:lumMod val="20000"/>
                      <a:lumOff val="80000"/>
                    </a:schemeClr>
                  </a:solidFill>
                  <a:latin typeface="Georgia" panose="02040502050405020303" pitchFamily="18" charset="0"/>
                </a:rPr>
              </a:br>
              <a:r>
                <a:rPr lang="en-US" sz="4400" i="0" dirty="0">
                  <a:solidFill>
                    <a:schemeClr val="tx1">
                      <a:lumMod val="20000"/>
                      <a:lumOff val="80000"/>
                    </a:schemeClr>
                  </a:solidFill>
                  <a:latin typeface="Georgia" panose="02040502050405020303" pitchFamily="18" charset="0"/>
                </a:rPr>
                <a:t>of consumer understanding and growth.</a:t>
              </a:r>
            </a:p>
          </p:txBody>
        </p:sp>
        <p:sp>
          <p:nvSpPr>
            <p:cNvPr id="12" name="TextBox 11">
              <a:extLst>
                <a:ext uri="{FF2B5EF4-FFF2-40B4-BE49-F238E27FC236}">
                  <a16:creationId xmlns:a16="http://schemas.microsoft.com/office/drawing/2014/main" id="{937A824E-6B9D-B23E-7B8D-61847F61E6EC}"/>
                </a:ext>
              </a:extLst>
            </p:cNvPr>
            <p:cNvSpPr txBox="1"/>
            <p:nvPr userDrawn="1"/>
          </p:nvSpPr>
          <p:spPr>
            <a:xfrm>
              <a:off x="1581150" y="1942832"/>
              <a:ext cx="2652445" cy="809439"/>
            </a:xfrm>
            <a:prstGeom prst="rect">
              <a:avLst/>
            </a:prstGeom>
            <a:noFill/>
          </p:spPr>
          <p:txBody>
            <a:bodyPr wrap="square" lIns="0" rIns="0" rtlCol="0" anchor="b">
              <a:noAutofit/>
            </a:bodyPr>
            <a:lstStyle/>
            <a:p>
              <a:pPr algn="ctr">
                <a:spcAft>
                  <a:spcPts val="600"/>
                </a:spcAft>
              </a:pPr>
              <a:r>
                <a:rPr lang="en-US" sz="4400" b="0" i="1" dirty="0">
                  <a:solidFill>
                    <a:schemeClr val="accent1"/>
                  </a:solidFill>
                  <a:latin typeface="Georgia" panose="02040502050405020303" pitchFamily="18" charset="0"/>
                </a:rPr>
                <a:t>creating</a:t>
              </a:r>
            </a:p>
          </p:txBody>
        </p:sp>
        <p:sp>
          <p:nvSpPr>
            <p:cNvPr id="13" name="Rectangle 12">
              <a:extLst>
                <a:ext uri="{FF2B5EF4-FFF2-40B4-BE49-F238E27FC236}">
                  <a16:creationId xmlns:a16="http://schemas.microsoft.com/office/drawing/2014/main" id="{6524184D-A190-2364-6543-7DC2B8C40CBF}"/>
                </a:ext>
              </a:extLst>
            </p:cNvPr>
            <p:cNvSpPr/>
            <p:nvPr userDrawn="1"/>
          </p:nvSpPr>
          <p:spPr>
            <a:xfrm>
              <a:off x="1783422" y="3030111"/>
              <a:ext cx="2247900"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grpSp>
    </p:spTree>
    <p:extLst>
      <p:ext uri="{BB962C8B-B14F-4D97-AF65-F5344CB8AC3E}">
        <p14:creationId xmlns:p14="http://schemas.microsoft.com/office/powerpoint/2010/main" val="4141083713"/>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_divider_deep_blue">
    <p:bg>
      <p:bgRef idx="1001">
        <a:schemeClr val="bg2"/>
      </p:bgRef>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a:ln>
            <a:noFill/>
          </a:ln>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a:ln>
            <a:noFill/>
          </a:ln>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TextBox 4">
            <a:extLst>
              <a:ext uri="{FF2B5EF4-FFF2-40B4-BE49-F238E27FC236}">
                <a16:creationId xmlns:a16="http://schemas.microsoft.com/office/drawing/2014/main" id="{9E788ED0-C34D-9A83-6510-E8B6FB8024CD}"/>
              </a:ext>
            </a:extLst>
          </p:cNvPr>
          <p:cNvSpPr txBox="1"/>
          <p:nvPr userDrawn="1"/>
        </p:nvSpPr>
        <p:spPr>
          <a:xfrm>
            <a:off x="1678487" y="2875715"/>
            <a:ext cx="8835025" cy="786057"/>
          </a:xfrm>
          <a:prstGeom prst="rect">
            <a:avLst/>
          </a:prstGeom>
          <a:noFill/>
        </p:spPr>
        <p:txBody>
          <a:bodyPr wrap="square" lIns="0" rIns="0" rtlCol="0" anchor="b">
            <a:noAutofit/>
          </a:bodyPr>
          <a:lstStyle/>
          <a:p>
            <a:pPr algn="ctr">
              <a:spcAft>
                <a:spcPts val="600"/>
              </a:spcAft>
            </a:pPr>
            <a:r>
              <a:rPr lang="en-US" sz="6000" i="0" dirty="0">
                <a:solidFill>
                  <a:schemeClr val="tx2"/>
                </a:solidFill>
                <a:latin typeface="Georgia" panose="02040502050405020303" pitchFamily="18" charset="0"/>
              </a:rPr>
              <a:t>The Full View</a:t>
            </a:r>
            <a:r>
              <a:rPr lang="en-US" sz="6000" i="0" baseline="30000" dirty="0">
                <a:solidFill>
                  <a:schemeClr val="tx2"/>
                </a:solidFill>
                <a:latin typeface="Georgia" panose="02040502050405020303" pitchFamily="18" charset="0"/>
              </a:rPr>
              <a:t>™</a:t>
            </a:r>
          </a:p>
        </p:txBody>
      </p:sp>
    </p:spTree>
    <p:extLst>
      <p:ext uri="{BB962C8B-B14F-4D97-AF65-F5344CB8AC3E}">
        <p14:creationId xmlns:p14="http://schemas.microsoft.com/office/powerpoint/2010/main" val="3673771747"/>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0859169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2402616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9241120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pic>
        <p:nvPicPr>
          <p:cNvPr id="2" name="Picture 1">
            <a:extLst>
              <a:ext uri="{FF2B5EF4-FFF2-40B4-BE49-F238E27FC236}">
                <a16:creationId xmlns:a16="http://schemas.microsoft.com/office/drawing/2014/main" id="{00863654-156E-C922-E096-60320264BEC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324962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990674084"/>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3510532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970094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34408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0164138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2390424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22639962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665035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31733924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9119341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493118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2498261099"/>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52993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7361424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131127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4956259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020235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396375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051710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169428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4863387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611557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53926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userDrawn="1"/>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0606581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270D49C1-E8FD-4100-6077-590D74316FB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5222890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Box 13">
            <a:extLst>
              <a:ext uri="{FF2B5EF4-FFF2-40B4-BE49-F238E27FC236}">
                <a16:creationId xmlns:a16="http://schemas.microsoft.com/office/drawing/2014/main" id="{EE2DAE71-2983-34FD-663C-6E97AE5A8A9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4762746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011486C1-A975-5880-4C54-03DD13A9F7F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19864865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userDrawn="1"/>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a:extLst>
              <a:ext uri="{FF2B5EF4-FFF2-40B4-BE49-F238E27FC236}">
                <a16:creationId xmlns:a16="http://schemas.microsoft.com/office/drawing/2014/main" id="{B3CE258B-CBCD-8DC5-1665-1A4555B76CDA}"/>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a:t>Insert your slide title in Arial bold 20pt</a:t>
            </a:r>
          </a:p>
        </p:txBody>
      </p:sp>
    </p:spTree>
    <p:extLst>
      <p:ext uri="{BB962C8B-B14F-4D97-AF65-F5344CB8AC3E}">
        <p14:creationId xmlns:p14="http://schemas.microsoft.com/office/powerpoint/2010/main" val="416594071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userDrawn="1"/>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userDrawn="1"/>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34481161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80788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Tree>
    <p:extLst>
      <p:ext uri="{BB962C8B-B14F-4D97-AF65-F5344CB8AC3E}">
        <p14:creationId xmlns:p14="http://schemas.microsoft.com/office/powerpoint/2010/main" val="38826641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5046924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932061373"/>
      </p:ext>
    </p:extLst>
  </p:cSld>
  <p:clrMapOvr>
    <a:overrideClrMapping bg1="lt1" tx1="dk1" bg2="lt2" tx2="dk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39055593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userDrawn="1"/>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36223226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cxnSp>
        <p:nvCxnSpPr>
          <p:cNvPr id="3" name="Straight Connector 2">
            <a:extLst>
              <a:ext uri="{FF2B5EF4-FFF2-40B4-BE49-F238E27FC236}">
                <a16:creationId xmlns:a16="http://schemas.microsoft.com/office/drawing/2014/main" id="{022B0290-F2EB-7CD4-F20A-D815DC90CCF1}"/>
              </a:ext>
            </a:extLst>
          </p:cNvPr>
          <p:cNvCxnSpPr>
            <a:cxnSpLocks/>
          </p:cNvCxnSpPr>
          <p:nvPr userDrawn="1"/>
        </p:nvCxnSpPr>
        <p:spPr>
          <a:xfrm>
            <a:off x="5826368" y="6394938"/>
            <a:ext cx="6365632" cy="0"/>
          </a:xfrm>
          <a:prstGeom prst="line">
            <a:avLst/>
          </a:prstGeom>
          <a:ln w="15875">
            <a:solidFill>
              <a:schemeClr val="tx1"/>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736184408"/>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060776668"/>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57549127"/>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7973883"/>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userDrawn="1"/>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984429513"/>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867731864"/>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325875"/>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userDrawn="1"/>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
        <p:nvSpPr>
          <p:cNvPr id="7" name="TextBox 6">
            <a:extLst>
              <a:ext uri="{FF2B5EF4-FFF2-40B4-BE49-F238E27FC236}">
                <a16:creationId xmlns:a16="http://schemas.microsoft.com/office/drawing/2014/main" id="{597486B2-E0C5-0362-6797-2154FB2AC31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244935549"/>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theme" Target="../theme/theme4.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slideLayout" Target="../slideLayouts/slideLayout92.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95.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8.xml"/><Relationship Id="rId1" Type="http://schemas.openxmlformats.org/officeDocument/2006/relationships/slideLayout" Target="../slideLayouts/slideLayout97.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image" Target="../media/image1.png"/><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theme" Target="../theme/theme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slideLayout" Target="../slideLayouts/slideLayout158.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image" Target="../media/image1.png"/><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4" Type="http://schemas.openxmlformats.org/officeDocument/2006/relationships/theme" Target="../theme/theme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userDrawn="1"/>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23236243"/>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709" r:id="rId9"/>
    <p:sldLayoutId id="2147483703" r:id="rId10"/>
    <p:sldLayoutId id="2147483706" r:id="rId11"/>
    <p:sldLayoutId id="2147483725" r:id="rId12"/>
    <p:sldLayoutId id="2147483707" r:id="rId13"/>
    <p:sldLayoutId id="2147483708" r:id="rId14"/>
    <p:sldLayoutId id="2147483668" r:id="rId15"/>
    <p:sldLayoutId id="2147483705" r:id="rId16"/>
    <p:sldLayoutId id="2147483726" r:id="rId17"/>
    <p:sldLayoutId id="2147483682"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508409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4116" r:id="rId16"/>
    <p:sldLayoutId id="2147484117" r:id="rId17"/>
    <p:sldLayoutId id="2147484118" r:id="rId18"/>
    <p:sldLayoutId id="2147484119" r:id="rId19"/>
    <p:sldLayoutId id="2147484120" r:id="rId20"/>
    <p:sldLayoutId id="2147484121" r:id="rId21"/>
    <p:sldLayoutId id="2147484123" r:id="rId22"/>
    <p:sldLayoutId id="2147484132" r:id="rId2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pic>
        <p:nvPicPr>
          <p:cNvPr id="4" name="Picture 3">
            <a:extLst>
              <a:ext uri="{FF2B5EF4-FFF2-40B4-BE49-F238E27FC236}">
                <a16:creationId xmlns:a16="http://schemas.microsoft.com/office/drawing/2014/main" id="{8FB95BBF-947E-1B10-EDAB-0C0FED9B1256}"/>
              </a:ext>
            </a:extLst>
          </p:cNvPr>
          <p:cNvPicPr>
            <a:picLocks noChangeAspect="1"/>
          </p:cNvPicPr>
          <p:nvPr userDrawn="1"/>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90626326"/>
      </p:ext>
    </p:extLst>
  </p:cSld>
  <p:clrMap bg1="lt1" tx1="dk1" bg2="lt2" tx2="dk2" accent1="accent1" accent2="accent2" accent3="accent3" accent4="accent4" accent5="accent5" accent6="accent6" hlink="hlink" folHlink="folHlink"/>
  <p:sldLayoutIdLst>
    <p:sldLayoutId id="2147484069" r:id="rId1"/>
    <p:sldLayoutId id="2147484096" r:id="rId2"/>
    <p:sldLayoutId id="2147484075" r:id="rId3"/>
    <p:sldLayoutId id="2147484085" r:id="rId4"/>
    <p:sldLayoutId id="2147484087" r:id="rId5"/>
    <p:sldLayoutId id="2147484088" r:id="rId6"/>
    <p:sldLayoutId id="2147484086" r:id="rId7"/>
    <p:sldLayoutId id="2147484089" r:id="rId8"/>
    <p:sldLayoutId id="2147484090" r:id="rId9"/>
    <p:sldLayoutId id="2147484091" r:id="rId10"/>
    <p:sldLayoutId id="2147484097" r:id="rId11"/>
    <p:sldLayoutId id="2147484092" r:id="rId12"/>
    <p:sldLayoutId id="2147484093" r:id="rId13"/>
    <p:sldLayoutId id="2147484094" r:id="rId14"/>
    <p:sldLayoutId id="2147484122" r:id="rId15"/>
    <p:sldLayoutId id="2147484124" r:id="rId16"/>
    <p:sldLayoutId id="2147484125" r:id="rId17"/>
    <p:sldLayoutId id="2147484126"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3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0800371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4127" r:id="rId30"/>
    <p:sldLayoutId id="2147484129" r:id="rId31"/>
    <p:sldLayoutId id="2147484130" r:id="rId32"/>
    <p:sldLayoutId id="2147484131" r:id="rId3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38895215"/>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77004981"/>
      </p:ext>
    </p:extLst>
  </p:cSld>
  <p:clrMap bg1="lt1" tx1="dk1" bg2="lt2" tx2="dk2" accent1="accent1" accent2="accent2" accent3="accent3" accent4="accent4" accent5="accent5" accent6="accent6" hlink="hlink" folHlink="folHlink"/>
  <p:sldLayoutIdLst>
    <p:sldLayoutId id="2147484002" r:id="rId1"/>
    <p:sldLayoutId id="2147484003"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userDrawn="1"/>
        </p:nvPicPr>
        <p:blipFill>
          <a:blip r:embed="rId2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93291286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28" r:id="rId1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a:t>Insert your copy here</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userDrawn="1"/>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userDrawn="1"/>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12170160"/>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2" r:id="rId9"/>
    <p:sldLayoutId id="2147484063" r:id="rId10"/>
    <p:sldLayoutId id="2147484064" r:id="rId11"/>
    <p:sldLayoutId id="2147484065" r:id="rId12"/>
    <p:sldLayoutId id="2147484066"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61"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png"/><Relationship Id="rId1" Type="http://schemas.openxmlformats.org/officeDocument/2006/relationships/slideLayout" Target="../slideLayouts/slideLayout39.xml"/><Relationship Id="rId4" Type="http://schemas.openxmlformats.org/officeDocument/2006/relationships/image" Target="../media/image49.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4.xml"/><Relationship Id="rId1" Type="http://schemas.openxmlformats.org/officeDocument/2006/relationships/tags" Target="../tags/tag2.xml"/><Relationship Id="rId4" Type="http://schemas.openxmlformats.org/officeDocument/2006/relationships/image" Target="../media/image46.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oleObject" Target="../embeddings/oleObject3.bin"/><Relationship Id="rId7" Type="http://schemas.openxmlformats.org/officeDocument/2006/relationships/image" Target="../media/image52.png"/><Relationship Id="rId2" Type="http://schemas.openxmlformats.org/officeDocument/2006/relationships/slideLayout" Target="../slideLayouts/slideLayout34.xml"/><Relationship Id="rId1" Type="http://schemas.openxmlformats.org/officeDocument/2006/relationships/tags" Target="../tags/tag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6.emf"/></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66.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2.xml"/></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xml"/><Relationship Id="rId1" Type="http://schemas.openxmlformats.org/officeDocument/2006/relationships/slideLayout" Target="../slideLayouts/slideLayout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7.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57.xml"/></Relationships>
</file>

<file path=ppt/slides/_rels/slide2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57.xml"/></Relationships>
</file>

<file path=ppt/slides/_rels/slide2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7.xml"/></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8.xml"/></Relationships>
</file>

<file path=ppt/slides/_rels/slide2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png"/><Relationship Id="rId1" Type="http://schemas.openxmlformats.org/officeDocument/2006/relationships/slideLayout" Target="../slideLayouts/slideLayout58.xml"/></Relationships>
</file>

<file path=ppt/slides/_rels/slide2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9.xml"/></Relationships>
</file>

<file path=ppt/slides/_rels/slide3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69.xml"/></Relationships>
</file>

<file path=ppt/slides/_rels/slide36.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6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image" Target="../media/image57.png"/><Relationship Id="rId1" Type="http://schemas.openxmlformats.org/officeDocument/2006/relationships/slideLayout" Target="../slideLayouts/slideLayout108.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39.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66.xml"/><Relationship Id="rId5" Type="http://schemas.openxmlformats.org/officeDocument/2006/relationships/chart" Target="../charts/chart24.xml"/><Relationship Id="rId4" Type="http://schemas.openxmlformats.org/officeDocument/2006/relationships/chart" Target="../charts/char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4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4.xml"/><Relationship Id="rId1" Type="http://schemas.openxmlformats.org/officeDocument/2006/relationships/slideLayout" Target="../slideLayouts/slideLayout91.xml"/></Relationships>
</file>

<file path=ppt/slides/_rels/slide47.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6.xml"/></Relationships>
</file>

<file path=ppt/slides/_rels/slide48.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9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1.xml.rels><?xml version="1.0" encoding="UTF-8" standalone="yes"?>
<Relationships xmlns="http://schemas.openxmlformats.org/package/2006/relationships"><Relationship Id="rId2" Type="http://schemas.openxmlformats.org/officeDocument/2006/relationships/image" Target="../media/image68.emf"/><Relationship Id="rId1" Type="http://schemas.openxmlformats.org/officeDocument/2006/relationships/slideLayout" Target="../slideLayouts/slideLayout69.xml"/></Relationships>
</file>

<file path=ppt/slides/_rels/slide5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4.xml"/><Relationship Id="rId1" Type="http://schemas.openxmlformats.org/officeDocument/2006/relationships/tags" Target="../tags/tag1.xml"/><Relationship Id="rId4" Type="http://schemas.openxmlformats.org/officeDocument/2006/relationships/image" Target="../media/image46.emf"/></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25</a:t>
            </a:r>
            <a:r>
              <a:rPr lang="en-PH" baseline="30000" dirty="0">
                <a:latin typeface="Montserrat" panose="00000500000000000000" pitchFamily="2" charset="0"/>
              </a:rPr>
              <a:t>th</a:t>
            </a:r>
            <a:r>
              <a:rPr lang="en-PH" dirty="0">
                <a:latin typeface="Montserrat" panose="00000500000000000000" pitchFamily="2" charset="0"/>
              </a:rPr>
              <a:t> February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9</a:t>
            </a:r>
            <a:r>
              <a:rPr lang="en-US" baseline="30000" dirty="0"/>
              <a:t>th</a:t>
            </a:r>
            <a:r>
              <a:rPr lang="en-US" dirty="0"/>
              <a:t> March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8.88 </a:t>
            </a:r>
            <a:r>
              <a:rPr lang="en-GB" dirty="0"/>
              <a:t>from £18.6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5</a:t>
            </a:r>
            <a:r>
              <a:rPr lang="en-GB" dirty="0"/>
              <a:t> from 11.5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ncreased to </a:t>
            </a:r>
            <a:r>
              <a:rPr lang="en-GB" b="1" dirty="0">
                <a:latin typeface="Georgia" panose="02040502050405020303" pitchFamily="18" charset="0"/>
              </a:rPr>
              <a:t>18.0</a:t>
            </a:r>
            <a:r>
              <a:rPr lang="en-GB" dirty="0"/>
              <a:t> trips from 16.6</a:t>
            </a:r>
          </a:p>
          <a:p>
            <a:pPr marL="0" indent="0">
              <a:buNone/>
            </a:pPr>
            <a:endParaRPr lang="en-GB" dirty="0"/>
          </a:p>
        </p:txBody>
      </p:sp>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2"/>
          <a:srcRect t="8458" b="8458"/>
          <a:stretch>
            <a:fillRect/>
          </a:stretch>
        </p:blipFill>
        <p:spPr>
          <a:xfrm>
            <a:off x="4237582" y="1752168"/>
            <a:ext cx="3684352" cy="2041112"/>
          </a:xfrm>
          <a:prstGeom prst="rect">
            <a:avLst/>
          </a:prstGeom>
        </p:spPr>
      </p:pic>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GB" dirty="0"/>
              <a:t>Shoppers made </a:t>
            </a:r>
            <a:r>
              <a:rPr lang="en-GB" b="0" i="1" dirty="0">
                <a:latin typeface="Georgia" panose="02040502050405020303" pitchFamily="18" charset="0"/>
              </a:rPr>
              <a:t>45m more </a:t>
            </a:r>
            <a:r>
              <a:rPr lang="en-GB" dirty="0"/>
              <a:t>shopping trips, spent </a:t>
            </a:r>
            <a:r>
              <a:rPr lang="en-GB" b="0" i="1" dirty="0">
                <a:latin typeface="Georgia" panose="02040502050405020303" pitchFamily="18" charset="0"/>
              </a:rPr>
              <a:t>£0.28 more </a:t>
            </a:r>
            <a:r>
              <a:rPr lang="en-GB" dirty="0"/>
              <a:t>per occasion but bought, on average, </a:t>
            </a:r>
            <a:r>
              <a:rPr lang="en-GB" b="0" i="1" dirty="0">
                <a:latin typeface="Georgia" panose="02040502050405020303" pitchFamily="18" charset="0"/>
              </a:rPr>
              <a:t>1.0 fewer </a:t>
            </a:r>
            <a:r>
              <a:rPr lang="en-GB" dirty="0"/>
              <a:t>FMCG items</a:t>
            </a:r>
            <a:endParaRPr lang="en-US" dirty="0"/>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6"/>
          </p:nvPr>
        </p:nvSpPr>
        <p:spPr>
          <a:xfrm>
            <a:off x="275157" y="1295589"/>
            <a:ext cx="3684352" cy="436542"/>
          </a:xfrm>
        </p:spPr>
        <p:txBody>
          <a:bodyPr/>
          <a:lstStyle/>
          <a:p>
            <a:r>
              <a:rPr lang="en-US" sz="3200" dirty="0">
                <a:solidFill>
                  <a:schemeClr val="tx2"/>
                </a:solidFill>
                <a:latin typeface="Georgia" panose="02040502050405020303" pitchFamily="18" charset="0"/>
              </a:rPr>
              <a:t>+1.5%</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23"/>
          </p:nvPr>
        </p:nvSpPr>
        <p:spPr>
          <a:xfrm>
            <a:off x="4218002" y="1295589"/>
            <a:ext cx="3684352" cy="436542"/>
          </a:xfrm>
        </p:spPr>
        <p:txBody>
          <a:bodyPr/>
          <a:lstStyle/>
          <a:p>
            <a:r>
              <a:rPr lang="en-GB" sz="3200" dirty="0">
                <a:solidFill>
                  <a:schemeClr val="tx2"/>
                </a:solidFill>
                <a:latin typeface="Georgia" panose="02040502050405020303" pitchFamily="18" charset="0"/>
              </a:rPr>
              <a:t>-9.0%</a:t>
            </a:r>
          </a:p>
        </p:txBody>
      </p:sp>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8"/>
          </p:nvPr>
        </p:nvSpPr>
        <p:spPr>
          <a:xfrm>
            <a:off x="8167026" y="1295589"/>
            <a:ext cx="3684352" cy="436542"/>
          </a:xfrm>
        </p:spPr>
        <p:txBody>
          <a:bodyPr/>
          <a:lstStyle/>
          <a:p>
            <a:r>
              <a:rPr lang="en-GB" sz="3200" dirty="0">
                <a:solidFill>
                  <a:schemeClr val="tx2"/>
                </a:solidFill>
                <a:latin typeface="Georgia" panose="02040502050405020303" pitchFamily="18" charset="0"/>
              </a:rPr>
              <a:t>+8.6%</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3">
            <a:extLst>
              <a:ext uri="{28A0092B-C50C-407E-A947-70E740481C1C}">
                <a14:useLocalDpi xmlns:a14="http://schemas.microsoft.com/office/drawing/2010/main" val="0"/>
              </a:ext>
            </a:extLst>
          </a:blip>
          <a:srcRect t="16414" b="615"/>
          <a:stretch/>
        </p:blipFill>
        <p:spPr bwMode="auto">
          <a:xfrm>
            <a:off x="8186605" y="1752168"/>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4">
            <a:extLst>
              <a:ext uri="{28A0092B-C50C-407E-A947-70E740481C1C}">
                <a14:useLocalDpi xmlns:a14="http://schemas.microsoft.com/office/drawing/2010/main" val="0"/>
              </a:ext>
            </a:extLst>
          </a:blip>
          <a:srcRect t="6609" r="21863" b="28471"/>
          <a:stretch/>
        </p:blipFill>
        <p:spPr bwMode="auto">
          <a:xfrm>
            <a:off x="288559" y="1770703"/>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7"/>
          </p:nvPr>
        </p:nvSpPr>
        <p:spPr>
          <a:xfrm>
            <a:off x="288559" y="5991678"/>
            <a:ext cx="11582399" cy="365125"/>
          </a:xfrm>
        </p:spPr>
        <p:txBody>
          <a:bodyPr/>
          <a:lstStyle/>
          <a:p>
            <a:r>
              <a:rPr lang="en-US" dirty="0"/>
              <a:t>Source:  NielsenIQ Homescan FMCG Total GB 4w/e 25</a:t>
            </a:r>
            <a:r>
              <a:rPr lang="en-US" baseline="30000" dirty="0"/>
              <a:t>th</a:t>
            </a:r>
            <a:r>
              <a:rPr lang="en-US" dirty="0"/>
              <a:t> February 2023 vs 4w/e 26</a:t>
            </a:r>
            <a:r>
              <a:rPr lang="en-US" baseline="30000" dirty="0"/>
              <a:t>th</a:t>
            </a:r>
            <a:r>
              <a:rPr lang="en-US" dirty="0"/>
              <a:t> February 2022</a:t>
            </a:r>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23"/>
          </p:nvPr>
        </p:nvSpPr>
        <p:spPr/>
        <p:txBody>
          <a:bodyPr/>
          <a:lstStyle/>
          <a:p>
            <a:r>
              <a:rPr lang="en-US" dirty="0"/>
              <a:t>Source:  NielsenIQ Homescan GB FMCG</a:t>
            </a:r>
          </a:p>
        </p:txBody>
      </p:sp>
      <p:sp>
        <p:nvSpPr>
          <p:cNvPr id="27" name="TextBox 26">
            <a:extLst>
              <a:ext uri="{FF2B5EF4-FFF2-40B4-BE49-F238E27FC236}">
                <a16:creationId xmlns:a16="http://schemas.microsoft.com/office/drawing/2014/main" id="{FD6F6C0B-5FC8-17AB-B6E5-A974F3C61787}"/>
              </a:ext>
            </a:extLst>
          </p:cNvPr>
          <p:cNvSpPr txBox="1"/>
          <p:nvPr/>
        </p:nvSpPr>
        <p:spPr>
          <a:xfrm>
            <a:off x="2708522" y="2363447"/>
            <a:ext cx="3704804" cy="584775"/>
          </a:xfrm>
          <a:prstGeom prst="rect">
            <a:avLst/>
          </a:prstGeom>
          <a:noFill/>
        </p:spPr>
        <p:txBody>
          <a:bodyPr wrap="square">
            <a:spAutoFit/>
          </a:bodyPr>
          <a:lstStyle/>
          <a:p>
            <a:r>
              <a:rPr lang="en-US" sz="1800" b="1" dirty="0">
                <a:solidFill>
                  <a:schemeClr val="bg1"/>
                </a:solidFill>
                <a:latin typeface="+mn-lt"/>
              </a:rPr>
              <a:t>January softer than usual</a:t>
            </a:r>
          </a:p>
          <a:p>
            <a:r>
              <a:rPr lang="en-US" sz="1400" dirty="0">
                <a:solidFill>
                  <a:schemeClr val="bg1"/>
                </a:solidFill>
              </a:rPr>
              <a:t>4w/e 28</a:t>
            </a:r>
            <a:r>
              <a:rPr lang="en-US" sz="1400" baseline="30000" dirty="0">
                <a:solidFill>
                  <a:schemeClr val="bg1"/>
                </a:solidFill>
              </a:rPr>
              <a:t>th</a:t>
            </a:r>
            <a:r>
              <a:rPr lang="en-US" sz="1400" dirty="0">
                <a:solidFill>
                  <a:schemeClr val="bg1"/>
                </a:solidFill>
              </a:rPr>
              <a:t> January 2023</a:t>
            </a:r>
            <a:endParaRPr lang="en-US" sz="1400" b="1" dirty="0">
              <a:solidFill>
                <a:schemeClr val="bg1"/>
              </a:solidFill>
              <a:latin typeface="+mn-lt"/>
            </a:endParaRPr>
          </a:p>
        </p:txBody>
      </p:sp>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810985513"/>
              </p:ext>
            </p:extLst>
          </p:nvPr>
        </p:nvGraphicFramePr>
        <p:xfrm>
          <a:off x="1248032" y="1297460"/>
          <a:ext cx="9604118" cy="4443458"/>
        </p:xfrm>
        <a:graphic>
          <a:graphicData uri="http://schemas.openxmlformats.org/drawingml/2006/table">
            <a:tbl>
              <a:tblPr firstRow="1" bandRow="1">
                <a:tableStyleId>{073A0DAA-6AF3-43AB-8588-CEC1D06C72B9}</a:tableStyleId>
              </a:tblPr>
              <a:tblGrid>
                <a:gridCol w="1510332">
                  <a:extLst>
                    <a:ext uri="{9D8B030D-6E8A-4147-A177-3AD203B41FA5}">
                      <a16:colId xmlns:a16="http://schemas.microsoft.com/office/drawing/2014/main" val="2730304933"/>
                    </a:ext>
                  </a:extLst>
                </a:gridCol>
                <a:gridCol w="3852454">
                  <a:extLst>
                    <a:ext uri="{9D8B030D-6E8A-4147-A177-3AD203B41FA5}">
                      <a16:colId xmlns:a16="http://schemas.microsoft.com/office/drawing/2014/main" val="907276787"/>
                    </a:ext>
                  </a:extLst>
                </a:gridCol>
                <a:gridCol w="4241332">
                  <a:extLst>
                    <a:ext uri="{9D8B030D-6E8A-4147-A177-3AD203B41FA5}">
                      <a16:colId xmlns:a16="http://schemas.microsoft.com/office/drawing/2014/main" val="732061466"/>
                    </a:ext>
                  </a:extLst>
                </a:gridCol>
              </a:tblGrid>
              <a:tr h="721611">
                <a:tc>
                  <a:txBody>
                    <a:bodyPr/>
                    <a:lstStyle/>
                    <a:p>
                      <a:endParaRPr lang="en-GB" dirty="0"/>
                    </a:p>
                  </a:txBody>
                  <a:tcPr>
                    <a:solidFill>
                      <a:schemeClr val="tx2"/>
                    </a:solidFill>
                  </a:tcPr>
                </a:tc>
                <a:tc>
                  <a:txBody>
                    <a:bodyPr/>
                    <a:lstStyle/>
                    <a:p>
                      <a:pPr algn="ctr"/>
                      <a:r>
                        <a:rPr lang="en-GB" dirty="0">
                          <a:latin typeface="Georgia" panose="02040502050405020303" pitchFamily="18" charset="0"/>
                        </a:rPr>
                        <a:t>January </a:t>
                      </a:r>
                      <a:r>
                        <a:rPr lang="en-GB" b="0" dirty="0">
                          <a:latin typeface="Georgia" panose="02040502050405020303" pitchFamily="18" charset="0"/>
                        </a:rPr>
                        <a:t>softer</a:t>
                      </a:r>
                      <a:r>
                        <a:rPr lang="en-GB" dirty="0">
                          <a:latin typeface="Georgia" panose="02040502050405020303" pitchFamily="18" charset="0"/>
                        </a:rPr>
                        <a:t> than usual</a:t>
                      </a:r>
                    </a:p>
                    <a:p>
                      <a:pPr algn="ctr"/>
                      <a:r>
                        <a:rPr lang="en-GB" sz="1400" dirty="0">
                          <a:latin typeface="Georgia" panose="02040502050405020303" pitchFamily="18" charset="0"/>
                        </a:rPr>
                        <a:t>4w/e 28</a:t>
                      </a:r>
                      <a:r>
                        <a:rPr lang="en-GB" sz="1400" baseline="30000" dirty="0">
                          <a:latin typeface="Georgia" panose="02040502050405020303" pitchFamily="18" charset="0"/>
                        </a:rPr>
                        <a:t>th</a:t>
                      </a:r>
                      <a:r>
                        <a:rPr lang="en-GB" sz="1400" dirty="0">
                          <a:latin typeface="Georgia" panose="02040502050405020303" pitchFamily="18" charset="0"/>
                        </a:rPr>
                        <a:t> January 2023</a:t>
                      </a:r>
                    </a:p>
                  </a:txBody>
                  <a:tcPr>
                    <a:solidFill>
                      <a:schemeClr val="tx2"/>
                    </a:solidFill>
                  </a:tcPr>
                </a:tc>
                <a:tc>
                  <a:txBody>
                    <a:bodyPr/>
                    <a:lstStyle/>
                    <a:p>
                      <a:pPr algn="ctr"/>
                      <a:r>
                        <a:rPr lang="en-GB" b="1" dirty="0">
                          <a:latin typeface="Georgia" panose="02040502050405020303" pitchFamily="18" charset="0"/>
                        </a:rPr>
                        <a:t>Outstanding</a:t>
                      </a:r>
                      <a:r>
                        <a:rPr lang="en-GB" dirty="0">
                          <a:latin typeface="Georgia" panose="02040502050405020303" pitchFamily="18" charset="0"/>
                        </a:rPr>
                        <a:t> </a:t>
                      </a:r>
                      <a:r>
                        <a:rPr lang="en-GB" b="0" dirty="0">
                          <a:latin typeface="Georgia" panose="02040502050405020303" pitchFamily="18" charset="0"/>
                        </a:rPr>
                        <a:t>Discounter</a:t>
                      </a:r>
                      <a:r>
                        <a:rPr lang="en-GB" dirty="0">
                          <a:latin typeface="Georgia" panose="02040502050405020303" pitchFamily="18" charset="0"/>
                        </a:rPr>
                        <a:t> </a:t>
                      </a:r>
                      <a:r>
                        <a:rPr lang="en-GB" b="1" dirty="0">
                          <a:latin typeface="Georgia" panose="02040502050405020303" pitchFamily="18" charset="0"/>
                        </a:rPr>
                        <a:t>growth</a:t>
                      </a:r>
                    </a:p>
                    <a:p>
                      <a:pPr algn="ctr"/>
                      <a:r>
                        <a:rPr lang="en-GB" sz="1400" dirty="0">
                          <a:latin typeface="Georgia" panose="02040502050405020303" pitchFamily="18" charset="0"/>
                        </a:rPr>
                        <a:t>4w/e 25</a:t>
                      </a:r>
                      <a:r>
                        <a:rPr lang="en-GB" sz="1400" baseline="30000" dirty="0">
                          <a:latin typeface="Georgia" panose="02040502050405020303" pitchFamily="18" charset="0"/>
                        </a:rPr>
                        <a:t>th</a:t>
                      </a:r>
                      <a:r>
                        <a:rPr lang="en-GB" sz="1400" dirty="0">
                          <a:latin typeface="Georgia" panose="02040502050405020303" pitchFamily="18" charset="0"/>
                        </a:rPr>
                        <a:t> February 2023</a:t>
                      </a:r>
                    </a:p>
                  </a:txBody>
                  <a:tcPr>
                    <a:solidFill>
                      <a:schemeClr val="bg2"/>
                    </a:solidFill>
                  </a:tcPr>
                </a:tc>
                <a:extLst>
                  <a:ext uri="{0D108BD9-81ED-4DB2-BD59-A6C34878D82A}">
                    <a16:rowId xmlns:a16="http://schemas.microsoft.com/office/drawing/2014/main" val="2349305710"/>
                  </a:ext>
                </a:extLst>
              </a:tr>
              <a:tr h="930462">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Georgia" panose="02040502050405020303" pitchFamily="18" charset="0"/>
                          <a:ea typeface="Montserrat Light"/>
                          <a:cs typeface="Montserrat Light"/>
                          <a:sym typeface="Montserrat Light"/>
                        </a:rPr>
                        <a:t>Basket Size</a:t>
                      </a:r>
                      <a:endParaRPr sz="1400" b="1" dirty="0">
                        <a:solidFill>
                          <a:schemeClr val="accent1"/>
                        </a:solidFill>
                        <a:latin typeface="Georgia" panose="02040502050405020303" pitchFamily="18"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18.75</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Montserrat" panose="00000500000000000000" pitchFamily="2" charset="0"/>
                          <a:ea typeface="Montserrat Light"/>
                          <a:cs typeface="Montserrat Light"/>
                          <a:sym typeface="Montserrat Light"/>
                        </a:rPr>
                        <a:t>+£0.38/</a:t>
                      </a:r>
                      <a:r>
                        <a:rPr lang="en-GB" sz="900" b="1" dirty="0">
                          <a:solidFill>
                            <a:schemeClr val="accent1"/>
                          </a:solidFill>
                          <a:latin typeface="Montserrat" panose="00000500000000000000" pitchFamily="2" charset="0"/>
                          <a:ea typeface="Montserrat Light"/>
                          <a:cs typeface="Montserrat Light"/>
                          <a:sym typeface="Montserrat Light"/>
                        </a:rPr>
                        <a:t>+2.1% </a:t>
                      </a:r>
                      <a:r>
                        <a:rPr lang="en-GB" sz="900" baseline="0" dirty="0">
                          <a:solidFill>
                            <a:srgbClr val="FFFFFF"/>
                          </a:solidFill>
                          <a:latin typeface="Montserrat" panose="00000500000000000000" pitchFamily="2" charset="0"/>
                          <a:ea typeface="Montserrat Light"/>
                          <a:cs typeface="Montserrat Light"/>
                          <a:sym typeface="Montserrat Light"/>
                        </a:rPr>
                        <a:t>vs last year and </a:t>
                      </a:r>
                      <a:r>
                        <a:rPr lang="en-GB" sz="900" b="1" baseline="0" dirty="0">
                          <a:solidFill>
                            <a:schemeClr val="accent1"/>
                          </a:solidFill>
                          <a:latin typeface="Montserrat" panose="00000500000000000000" pitchFamily="2" charset="0"/>
                          <a:ea typeface="Montserrat Light"/>
                          <a:cs typeface="Montserrat Light"/>
                          <a:sym typeface="Montserrat Light"/>
                        </a:rPr>
                        <a:t>-15.0% </a:t>
                      </a:r>
                      <a:r>
                        <a:rPr lang="en-GB" sz="900" baseline="0" dirty="0">
                          <a:solidFill>
                            <a:srgbClr val="FFFFFF"/>
                          </a:solidFill>
                          <a:latin typeface="Montserrat" panose="00000500000000000000" pitchFamily="2"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Montserrat" panose="00000500000000000000" pitchFamily="2" charset="0"/>
                          <a:ea typeface="Montserrat"/>
                          <a:cs typeface="Montserrat"/>
                          <a:sym typeface="Montserrat Light"/>
                        </a:rPr>
                        <a:t>10.6</a:t>
                      </a:r>
                      <a:r>
                        <a:rPr lang="en-GB" sz="900" baseline="0" dirty="0">
                          <a:solidFill>
                            <a:srgbClr val="FFFFFF"/>
                          </a:solidFill>
                          <a:latin typeface="Montserrat" panose="00000500000000000000" pitchFamily="2" charset="0"/>
                          <a:ea typeface="Montserrat"/>
                          <a:cs typeface="Montserrat"/>
                          <a:sym typeface="Montserrat Light"/>
                        </a:rPr>
                        <a:t> items (</a:t>
                      </a:r>
                      <a:r>
                        <a:rPr lang="en-GB" sz="900" b="1" baseline="0" dirty="0">
                          <a:solidFill>
                            <a:schemeClr val="accent1"/>
                          </a:solidFill>
                          <a:latin typeface="Montserrat" panose="00000500000000000000" pitchFamily="2" charset="0"/>
                          <a:ea typeface="Montserrat"/>
                          <a:cs typeface="Montserrat"/>
                          <a:sym typeface="Montserrat Light"/>
                        </a:rPr>
                        <a:t>-8.3%</a:t>
                      </a:r>
                      <a:r>
                        <a:rPr lang="en-GB" sz="900" b="1" baseline="0" dirty="0">
                          <a:solidFill>
                            <a:srgbClr val="FFFFFF"/>
                          </a:solidFill>
                          <a:latin typeface="Montserrat" panose="00000500000000000000" pitchFamily="2" charset="0"/>
                          <a:ea typeface="Montserrat"/>
                          <a:cs typeface="Montserrat"/>
                          <a:sym typeface="Montserrat Light"/>
                        </a:rPr>
                        <a:t> </a:t>
                      </a:r>
                      <a:r>
                        <a:rPr lang="en-GB" sz="900" b="0" baseline="0" dirty="0">
                          <a:solidFill>
                            <a:srgbClr val="FFFFFF"/>
                          </a:solidFill>
                          <a:latin typeface="Montserrat" panose="00000500000000000000" pitchFamily="2" charset="0"/>
                          <a:ea typeface="Montserrat"/>
                          <a:cs typeface="Montserrat"/>
                          <a:sym typeface="Montserrat Light"/>
                        </a:rPr>
                        <a:t>vs last year and </a:t>
                      </a:r>
                      <a:r>
                        <a:rPr lang="en-GB" sz="900" b="1" baseline="0" dirty="0">
                          <a:solidFill>
                            <a:schemeClr val="accent1"/>
                          </a:solidFill>
                          <a:latin typeface="Montserrat" panose="00000500000000000000" pitchFamily="2" charset="0"/>
                          <a:ea typeface="Montserrat"/>
                          <a:cs typeface="Montserrat"/>
                          <a:sym typeface="Montserrat Light"/>
                        </a:rPr>
                        <a:t>-5.1%</a:t>
                      </a:r>
                      <a:r>
                        <a:rPr lang="en-GB" sz="900" b="1" baseline="0" dirty="0">
                          <a:solidFill>
                            <a:srgbClr val="FFFFFF"/>
                          </a:solidFill>
                          <a:latin typeface="Montserrat" panose="00000500000000000000" pitchFamily="2" charset="0"/>
                          <a:ea typeface="Montserrat"/>
                          <a:cs typeface="Montserrat"/>
                          <a:sym typeface="Montserrat Light"/>
                        </a:rPr>
                        <a:t> vs last month</a:t>
                      </a:r>
                      <a:r>
                        <a:rPr lang="en-GB" sz="900" b="0" baseline="0" dirty="0">
                          <a:solidFill>
                            <a:srgbClr val="FFFFFF"/>
                          </a:solidFill>
                          <a:latin typeface="Montserrat" panose="00000500000000000000" pitchFamily="2" charset="0"/>
                          <a:ea typeface="Montserrat"/>
                          <a:cs typeface="Montserrat"/>
                          <a:sym typeface="Montserrat Light"/>
                        </a:rPr>
                        <a:t>)</a:t>
                      </a:r>
                      <a:endParaRPr lang="en-GB" sz="900" dirty="0">
                        <a:solidFill>
                          <a:srgbClr val="FFFFFF"/>
                        </a:solidFill>
                        <a:highlight>
                          <a:srgbClr val="C0C0C0"/>
                        </a:highlight>
                        <a:latin typeface="Montserrat" panose="00000500000000000000" pitchFamily="2"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18.88</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Montserrat" panose="00000500000000000000" pitchFamily="2" charset="0"/>
                          <a:ea typeface="Montserrat Light"/>
                          <a:cs typeface="Montserrat Light"/>
                          <a:sym typeface="Montserrat Light"/>
                        </a:rPr>
                        <a:t>+£0.28/</a:t>
                      </a:r>
                      <a:r>
                        <a:rPr lang="en-GB" sz="900" b="1" dirty="0">
                          <a:solidFill>
                            <a:schemeClr val="accent1"/>
                          </a:solidFill>
                          <a:latin typeface="Montserrat" panose="00000500000000000000" pitchFamily="2" charset="0"/>
                          <a:ea typeface="Montserrat Light"/>
                          <a:cs typeface="Montserrat Light"/>
                          <a:sym typeface="Montserrat Light"/>
                        </a:rPr>
                        <a:t>+2.5% </a:t>
                      </a:r>
                      <a:r>
                        <a:rPr lang="en-GB" sz="900" baseline="0" dirty="0">
                          <a:solidFill>
                            <a:srgbClr val="FFFFFF"/>
                          </a:solidFill>
                          <a:latin typeface="Montserrat" panose="00000500000000000000" pitchFamily="2" charset="0"/>
                          <a:ea typeface="Montserrat Light"/>
                          <a:cs typeface="Montserrat Light"/>
                          <a:sym typeface="Montserrat Light"/>
                        </a:rPr>
                        <a:t>vs last year and </a:t>
                      </a:r>
                      <a:r>
                        <a:rPr lang="en-GB" sz="900" b="1" baseline="0" dirty="0">
                          <a:solidFill>
                            <a:schemeClr val="accent1"/>
                          </a:solidFill>
                          <a:latin typeface="Montserrat" panose="00000500000000000000" pitchFamily="2" charset="0"/>
                          <a:ea typeface="Montserrat Light"/>
                          <a:cs typeface="Montserrat Light"/>
                          <a:sym typeface="Montserrat Light"/>
                        </a:rPr>
                        <a:t>+0.6% </a:t>
                      </a:r>
                      <a:r>
                        <a:rPr lang="en-GB" sz="900" baseline="0" dirty="0">
                          <a:solidFill>
                            <a:srgbClr val="FFFFFF"/>
                          </a:solidFill>
                          <a:latin typeface="Montserrat" panose="00000500000000000000" pitchFamily="2"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Montserrat" panose="00000500000000000000" pitchFamily="2" charset="0"/>
                          <a:ea typeface="Montserrat"/>
                          <a:cs typeface="Montserrat"/>
                          <a:sym typeface="Montserrat Light"/>
                        </a:rPr>
                        <a:t>10.5</a:t>
                      </a:r>
                      <a:r>
                        <a:rPr lang="en-GB" sz="900" baseline="0" dirty="0">
                          <a:solidFill>
                            <a:srgbClr val="FFFFFF"/>
                          </a:solidFill>
                          <a:latin typeface="Montserrat" panose="00000500000000000000" pitchFamily="2" charset="0"/>
                          <a:ea typeface="Montserrat"/>
                          <a:cs typeface="Montserrat"/>
                          <a:sym typeface="Montserrat Light"/>
                        </a:rPr>
                        <a:t> items (</a:t>
                      </a:r>
                      <a:r>
                        <a:rPr lang="en-GB" sz="900" b="1" baseline="0" dirty="0">
                          <a:solidFill>
                            <a:schemeClr val="accent1"/>
                          </a:solidFill>
                          <a:latin typeface="Montserrat" panose="00000500000000000000" pitchFamily="2" charset="0"/>
                          <a:ea typeface="Montserrat"/>
                          <a:cs typeface="Montserrat"/>
                          <a:sym typeface="Montserrat Light"/>
                        </a:rPr>
                        <a:t>-9.0%</a:t>
                      </a:r>
                      <a:r>
                        <a:rPr lang="en-GB" sz="900" b="1" baseline="0" dirty="0">
                          <a:solidFill>
                            <a:srgbClr val="FFFFFF"/>
                          </a:solidFill>
                          <a:latin typeface="Montserrat" panose="00000500000000000000" pitchFamily="2" charset="0"/>
                          <a:ea typeface="Montserrat"/>
                          <a:cs typeface="Montserrat"/>
                          <a:sym typeface="Montserrat Light"/>
                        </a:rPr>
                        <a:t> </a:t>
                      </a:r>
                      <a:r>
                        <a:rPr lang="en-GB" sz="900" b="0" baseline="0" dirty="0">
                          <a:solidFill>
                            <a:srgbClr val="FFFFFF"/>
                          </a:solidFill>
                          <a:latin typeface="Montserrat" panose="00000500000000000000" pitchFamily="2" charset="0"/>
                          <a:ea typeface="Montserrat"/>
                          <a:cs typeface="Montserrat"/>
                          <a:sym typeface="Montserrat Light"/>
                        </a:rPr>
                        <a:t>vs last year and </a:t>
                      </a:r>
                      <a:r>
                        <a:rPr lang="en-GB" sz="900" b="1" baseline="0" dirty="0">
                          <a:solidFill>
                            <a:schemeClr val="accent1"/>
                          </a:solidFill>
                          <a:latin typeface="Montserrat" panose="00000500000000000000" pitchFamily="2" charset="0"/>
                          <a:ea typeface="Montserrat"/>
                          <a:cs typeface="Montserrat"/>
                          <a:sym typeface="Montserrat Light"/>
                        </a:rPr>
                        <a:t>-0.8%</a:t>
                      </a:r>
                      <a:r>
                        <a:rPr lang="en-GB" sz="900" b="1" baseline="0" dirty="0">
                          <a:solidFill>
                            <a:srgbClr val="FFFFFF"/>
                          </a:solidFill>
                          <a:latin typeface="Montserrat" panose="00000500000000000000" pitchFamily="2" charset="0"/>
                          <a:ea typeface="Montserrat"/>
                          <a:cs typeface="Montserrat"/>
                          <a:sym typeface="Montserrat Light"/>
                        </a:rPr>
                        <a:t> vs last month</a:t>
                      </a:r>
                      <a:r>
                        <a:rPr lang="en-GB" sz="900" b="0" baseline="0" dirty="0">
                          <a:solidFill>
                            <a:srgbClr val="FFFFFF"/>
                          </a:solidFill>
                          <a:latin typeface="Montserrat" panose="00000500000000000000" pitchFamily="2" charset="0"/>
                          <a:ea typeface="Montserrat"/>
                          <a:cs typeface="Montserrat"/>
                          <a:sym typeface="Montserrat Light"/>
                        </a:rPr>
                        <a:t>)</a:t>
                      </a:r>
                      <a:endParaRPr lang="en-GB" sz="900" dirty="0">
                        <a:solidFill>
                          <a:srgbClr val="FFFFFF"/>
                        </a:solidFill>
                        <a:highlight>
                          <a:srgbClr val="C0C0C0"/>
                        </a:highlight>
                        <a:latin typeface="Montserrat" panose="00000500000000000000" pitchFamily="2"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1025410">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Georgia" panose="02040502050405020303" pitchFamily="18" charset="0"/>
                          <a:ea typeface="Montserrat"/>
                          <a:cs typeface="Montserrat"/>
                          <a:sym typeface="Montserrat"/>
                        </a:rPr>
                        <a:t>Bricks &amp; Mortar </a:t>
                      </a:r>
                      <a:r>
                        <a:rPr lang="en-GB" sz="1400" dirty="0">
                          <a:solidFill>
                            <a:srgbClr val="FFFFFF"/>
                          </a:solidFill>
                          <a:latin typeface="Georgia" panose="02040502050405020303" pitchFamily="18"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Montserrat" panose="00000500000000000000" pitchFamily="2" charset="0"/>
                          <a:ea typeface="Montserrat Light"/>
                          <a:cs typeface="Montserrat Light"/>
                          <a:sym typeface="Montserrat Light"/>
                        </a:rPr>
                        <a:t>470m shopping occasions</a:t>
                      </a:r>
                      <a:endParaRPr sz="900" dirty="0">
                        <a:solidFill>
                          <a:srgbClr val="FFFFFF"/>
                        </a:solidFill>
                        <a:latin typeface="Montserrat" panose="00000500000000000000" pitchFamily="2"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Montserrat" panose="00000500000000000000" pitchFamily="2" charset="0"/>
                          <a:ea typeface="Montserrat Light"/>
                          <a:cs typeface="Montserrat Light"/>
                          <a:sym typeface="Montserrat Light"/>
                        </a:rPr>
                        <a:t>+5.7%/+25m</a:t>
                      </a:r>
                      <a:r>
                        <a:rPr lang="en" sz="900" baseline="0" dirty="0">
                          <a:solidFill>
                            <a:srgbClr val="FFFFFF"/>
                          </a:solidFill>
                          <a:latin typeface="Montserrat" panose="00000500000000000000" pitchFamily="2" charset="0"/>
                          <a:ea typeface="Montserrat Light"/>
                          <a:cs typeface="Montserrat Light"/>
                          <a:sym typeface="Montserrat Light"/>
                        </a:rPr>
                        <a:t> </a:t>
                      </a:r>
                      <a:r>
                        <a:rPr lang="en" sz="900" b="1" baseline="0" dirty="0">
                          <a:solidFill>
                            <a:schemeClr val="accent1"/>
                          </a:solidFill>
                          <a:latin typeface="Montserrat" panose="00000500000000000000" pitchFamily="2" charset="0"/>
                          <a:ea typeface="Montserrat Light"/>
                          <a:cs typeface="Montserrat Light"/>
                          <a:sym typeface="Montserrat Light"/>
                        </a:rPr>
                        <a:t>more</a:t>
                      </a:r>
                      <a:r>
                        <a:rPr lang="en" sz="900" baseline="0" dirty="0">
                          <a:solidFill>
                            <a:srgbClr val="FFFFFF"/>
                          </a:solidFill>
                          <a:latin typeface="Montserrat" panose="00000500000000000000" pitchFamily="2" charset="0"/>
                          <a:ea typeface="Montserrat Light"/>
                          <a:cs typeface="Montserrat Light"/>
                          <a:sym typeface="Montserrat Light"/>
                        </a:rPr>
                        <a:t> than last year </a:t>
                      </a:r>
                      <a:r>
                        <a:rPr lang="en" sz="900" b="0" baseline="0" dirty="0">
                          <a:solidFill>
                            <a:srgbClr val="FFFFFF"/>
                          </a:solidFill>
                          <a:latin typeface="Montserrat" panose="00000500000000000000" pitchFamily="2" charset="0"/>
                          <a:ea typeface="Montserrat Light"/>
                          <a:cs typeface="Montserrat Light"/>
                          <a:sym typeface="Montserrat Light"/>
                        </a:rPr>
                        <a:t>and </a:t>
                      </a:r>
                      <a:r>
                        <a:rPr lang="en" sz="900" b="1" baseline="0" dirty="0">
                          <a:solidFill>
                            <a:schemeClr val="accent1"/>
                          </a:solidFill>
                          <a:latin typeface="Montserrat" panose="00000500000000000000" pitchFamily="2" charset="0"/>
                          <a:ea typeface="Montserrat Light"/>
                          <a:cs typeface="Montserrat Light"/>
                          <a:sym typeface="Montserrat Light"/>
                        </a:rPr>
                        <a:t>-5.7%</a:t>
                      </a:r>
                      <a:r>
                        <a:rPr lang="en" sz="900" b="1" baseline="0" dirty="0">
                          <a:solidFill>
                            <a:srgbClr val="FFFFFF"/>
                          </a:solidFill>
                          <a:latin typeface="Montserrat" panose="00000500000000000000" pitchFamily="2" charset="0"/>
                          <a:ea typeface="Montserrat Light"/>
                          <a:cs typeface="Montserrat Light"/>
                          <a:sym typeface="Montserrat Light"/>
                        </a:rPr>
                        <a:t> </a:t>
                      </a:r>
                      <a:r>
                        <a:rPr lang="en" sz="900" b="1" baseline="0" dirty="0">
                          <a:solidFill>
                            <a:schemeClr val="accent1"/>
                          </a:solidFill>
                          <a:latin typeface="Montserrat" panose="00000500000000000000" pitchFamily="2" charset="0"/>
                          <a:ea typeface="Montserrat Light"/>
                          <a:cs typeface="Montserrat Light"/>
                          <a:sym typeface="Montserrat Light"/>
                        </a:rPr>
                        <a:t>fewer</a:t>
                      </a:r>
                      <a:r>
                        <a:rPr lang="en" sz="900" b="1" baseline="0" dirty="0">
                          <a:solidFill>
                            <a:srgbClr val="FFFFFF"/>
                          </a:solidFill>
                          <a:latin typeface="Montserrat" panose="00000500000000000000" pitchFamily="2" charset="0"/>
                          <a:ea typeface="Montserrat Light"/>
                          <a:cs typeface="Montserrat Light"/>
                          <a:sym typeface="Montserrat Light"/>
                        </a:rPr>
                        <a:t> trips v last month</a:t>
                      </a:r>
                      <a:endParaRPr sz="900" b="1" dirty="0">
                        <a:solidFill>
                          <a:schemeClr val="accent1"/>
                        </a:solidFill>
                        <a:latin typeface="Montserrat" panose="00000500000000000000" pitchFamily="2"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Montserrat" panose="00000500000000000000" pitchFamily="2" charset="0"/>
                          <a:ea typeface="Montserrat Light"/>
                          <a:cs typeface="Montserrat Light"/>
                          <a:sym typeface="Montserrat Light"/>
                        </a:rPr>
                        <a:t>503m shopping occasions</a:t>
                      </a:r>
                      <a:endParaRPr sz="900" dirty="0">
                        <a:solidFill>
                          <a:srgbClr val="FFFFFF"/>
                        </a:solidFill>
                        <a:latin typeface="Montserrat" panose="00000500000000000000" pitchFamily="2"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Montserrat" panose="00000500000000000000" pitchFamily="2" charset="0"/>
                          <a:ea typeface="Montserrat Light"/>
                          <a:cs typeface="Montserrat Light"/>
                          <a:sym typeface="Montserrat Light"/>
                        </a:rPr>
                        <a:t>+10.1%/+46m</a:t>
                      </a:r>
                      <a:r>
                        <a:rPr lang="en" sz="900" baseline="0" dirty="0">
                          <a:solidFill>
                            <a:srgbClr val="FFFFFF"/>
                          </a:solidFill>
                          <a:latin typeface="Montserrat" panose="00000500000000000000" pitchFamily="2" charset="0"/>
                          <a:ea typeface="Montserrat Light"/>
                          <a:cs typeface="Montserrat Light"/>
                          <a:sym typeface="Montserrat Light"/>
                        </a:rPr>
                        <a:t> </a:t>
                      </a:r>
                      <a:r>
                        <a:rPr lang="en" sz="900" b="1" baseline="0" dirty="0">
                          <a:solidFill>
                            <a:schemeClr val="accent1"/>
                          </a:solidFill>
                          <a:latin typeface="Montserrat" panose="00000500000000000000" pitchFamily="2" charset="0"/>
                          <a:ea typeface="Montserrat Light"/>
                          <a:cs typeface="Montserrat Light"/>
                          <a:sym typeface="Montserrat Light"/>
                        </a:rPr>
                        <a:t>more</a:t>
                      </a:r>
                      <a:r>
                        <a:rPr lang="en" sz="900" baseline="0" dirty="0">
                          <a:solidFill>
                            <a:srgbClr val="FFFFFF"/>
                          </a:solidFill>
                          <a:latin typeface="Montserrat" panose="00000500000000000000" pitchFamily="2" charset="0"/>
                          <a:ea typeface="Montserrat Light"/>
                          <a:cs typeface="Montserrat Light"/>
                          <a:sym typeface="Montserrat Light"/>
                        </a:rPr>
                        <a:t> than last year </a:t>
                      </a:r>
                      <a:r>
                        <a:rPr lang="en" sz="900" b="0" baseline="0" dirty="0">
                          <a:solidFill>
                            <a:srgbClr val="FFFFFF"/>
                          </a:solidFill>
                          <a:latin typeface="Montserrat" panose="00000500000000000000" pitchFamily="2" charset="0"/>
                          <a:ea typeface="Montserrat Light"/>
                          <a:cs typeface="Montserrat Light"/>
                          <a:sym typeface="Montserrat Light"/>
                        </a:rPr>
                        <a:t>and </a:t>
                      </a:r>
                      <a:r>
                        <a:rPr lang="en" sz="900" b="1" baseline="0" dirty="0">
                          <a:solidFill>
                            <a:schemeClr val="accent1"/>
                          </a:solidFill>
                          <a:latin typeface="Montserrat" panose="00000500000000000000" pitchFamily="2" charset="0"/>
                          <a:ea typeface="Montserrat Light"/>
                          <a:cs typeface="Montserrat Light"/>
                          <a:sym typeface="Montserrat Light"/>
                        </a:rPr>
                        <a:t>+6.8%</a:t>
                      </a:r>
                      <a:r>
                        <a:rPr lang="en" sz="900" b="1" baseline="0" dirty="0">
                          <a:solidFill>
                            <a:srgbClr val="FFFFFF"/>
                          </a:solidFill>
                          <a:latin typeface="Montserrat" panose="00000500000000000000" pitchFamily="2" charset="0"/>
                          <a:ea typeface="Montserrat Light"/>
                          <a:cs typeface="Montserrat Light"/>
                          <a:sym typeface="Montserrat Light"/>
                        </a:rPr>
                        <a:t> </a:t>
                      </a:r>
                      <a:r>
                        <a:rPr lang="en" sz="900" b="1" baseline="0" dirty="0">
                          <a:solidFill>
                            <a:schemeClr val="accent1"/>
                          </a:solidFill>
                          <a:latin typeface="Montserrat" panose="00000500000000000000" pitchFamily="2" charset="0"/>
                          <a:ea typeface="Montserrat Light"/>
                          <a:cs typeface="Montserrat Light"/>
                          <a:sym typeface="Montserrat Light"/>
                        </a:rPr>
                        <a:t>more</a:t>
                      </a:r>
                      <a:r>
                        <a:rPr lang="en" sz="900" b="1" baseline="0" dirty="0">
                          <a:solidFill>
                            <a:srgbClr val="FFFFFF"/>
                          </a:solidFill>
                          <a:latin typeface="Montserrat" panose="00000500000000000000" pitchFamily="2" charset="0"/>
                          <a:ea typeface="Montserrat Light"/>
                          <a:cs typeface="Montserrat Light"/>
                          <a:sym typeface="Montserrat Light"/>
                        </a:rPr>
                        <a:t> trips v last month</a:t>
                      </a:r>
                      <a:endParaRPr sz="900" b="1" dirty="0">
                        <a:solidFill>
                          <a:schemeClr val="accent1"/>
                        </a:solidFill>
                        <a:latin typeface="Montserrat" panose="00000500000000000000" pitchFamily="2"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Georgia" panose="02040502050405020303" pitchFamily="18" charset="0"/>
                          <a:ea typeface="Montserrat"/>
                          <a:cs typeface="Montserrat"/>
                          <a:sym typeface="Montserrat"/>
                        </a:rPr>
                        <a:t>Online </a:t>
                      </a:r>
                      <a:r>
                        <a:rPr lang="en-GB" sz="1400" dirty="0">
                          <a:solidFill>
                            <a:srgbClr val="FFFFFF"/>
                          </a:solidFill>
                          <a:latin typeface="Georgia" panose="02040502050405020303" pitchFamily="18"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26%</a:t>
                      </a:r>
                      <a:r>
                        <a:rPr lang="en-GB" sz="900" dirty="0">
                          <a:solidFill>
                            <a:srgbClr val="FFFFFF"/>
                          </a:solidFill>
                          <a:latin typeface="Montserrat" panose="00000500000000000000" pitchFamily="2"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Montserrat" panose="00000500000000000000" pitchFamily="2" charset="0"/>
                          <a:ea typeface="Montserrat Light"/>
                          <a:cs typeface="Montserrat Light"/>
                          <a:sym typeface="Montserrat Light"/>
                        </a:rPr>
                        <a:t>-10%/-823k </a:t>
                      </a:r>
                      <a:r>
                        <a:rPr lang="en-GB" sz="900" b="1" dirty="0">
                          <a:solidFill>
                            <a:schemeClr val="accent1"/>
                          </a:solidFill>
                          <a:latin typeface="Montserrat" panose="00000500000000000000" pitchFamily="2" charset="0"/>
                          <a:ea typeface="Montserrat Light"/>
                          <a:cs typeface="Montserrat Light"/>
                          <a:sym typeface="Montserrat Light"/>
                        </a:rPr>
                        <a:t>fewer</a:t>
                      </a:r>
                      <a:r>
                        <a:rPr lang="en-GB" sz="900" dirty="0">
                          <a:solidFill>
                            <a:srgbClr val="FFFFFF"/>
                          </a:solidFill>
                          <a:latin typeface="Montserrat" panose="00000500000000000000" pitchFamily="2" charset="0"/>
                          <a:ea typeface="Montserrat Light"/>
                          <a:cs typeface="Montserrat Light"/>
                          <a:sym typeface="Montserrat Light"/>
                        </a:rPr>
                        <a:t> </a:t>
                      </a:r>
                      <a:r>
                        <a:rPr lang="en-GB" sz="900" baseline="0" dirty="0">
                          <a:solidFill>
                            <a:srgbClr val="FFFFFF"/>
                          </a:solidFill>
                          <a:latin typeface="Montserrat" panose="00000500000000000000" pitchFamily="2"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Montserrat" panose="00000500000000000000" pitchFamily="2" charset="0"/>
                          <a:ea typeface="Montserrat"/>
                          <a:cs typeface="Montserrat"/>
                          <a:sym typeface="Montserrat Light"/>
                        </a:rPr>
                        <a:t>-6.2%</a:t>
                      </a:r>
                      <a:r>
                        <a:rPr lang="en-GB" sz="900" baseline="0" dirty="0">
                          <a:solidFill>
                            <a:srgbClr val="FFFFFF"/>
                          </a:solidFill>
                          <a:latin typeface="Montserrat" panose="00000500000000000000" pitchFamily="2" charset="0"/>
                          <a:ea typeface="Montserrat"/>
                          <a:cs typeface="Montserrat"/>
                          <a:sym typeface="Montserrat Light"/>
                        </a:rPr>
                        <a:t>/-494k </a:t>
                      </a:r>
                      <a:r>
                        <a:rPr lang="en-GB" sz="900" b="1" baseline="0" dirty="0">
                          <a:solidFill>
                            <a:schemeClr val="accent1"/>
                          </a:solidFill>
                          <a:latin typeface="Montserrat" panose="00000500000000000000" pitchFamily="2" charset="0"/>
                          <a:ea typeface="Montserrat"/>
                          <a:cs typeface="Montserrat"/>
                          <a:sym typeface="Montserrat Light"/>
                        </a:rPr>
                        <a:t>fewer </a:t>
                      </a:r>
                      <a:r>
                        <a:rPr lang="en-GB" sz="900" baseline="0" dirty="0">
                          <a:solidFill>
                            <a:srgbClr val="FFFFFF"/>
                          </a:solidFill>
                          <a:latin typeface="Montserrat" panose="00000500000000000000" pitchFamily="2" charset="0"/>
                          <a:ea typeface="Montserrat"/>
                          <a:cs typeface="Montserrat"/>
                          <a:sym typeface="Montserrat Light"/>
                        </a:rPr>
                        <a:t>shoppers than </a:t>
                      </a:r>
                      <a:r>
                        <a:rPr lang="en-GB" sz="900" b="1" baseline="0" dirty="0">
                          <a:solidFill>
                            <a:srgbClr val="FFFFFF"/>
                          </a:solidFill>
                          <a:latin typeface="Montserrat" panose="00000500000000000000" pitchFamily="2" charset="0"/>
                          <a:ea typeface="Montserrat"/>
                          <a:cs typeface="Montserrat"/>
                          <a:sym typeface="Montserrat Light"/>
                        </a:rPr>
                        <a:t>last</a:t>
                      </a:r>
                      <a:r>
                        <a:rPr lang="en-GB" sz="900" baseline="0" dirty="0">
                          <a:solidFill>
                            <a:srgbClr val="FFFFFF"/>
                          </a:solidFill>
                          <a:latin typeface="Montserrat" panose="00000500000000000000" pitchFamily="2" charset="0"/>
                          <a:ea typeface="Montserrat"/>
                          <a:cs typeface="Montserrat"/>
                          <a:sym typeface="Montserrat Light"/>
                        </a:rPr>
                        <a:t> month</a:t>
                      </a:r>
                      <a:endParaRPr lang="en-GB" sz="900" dirty="0">
                        <a:solidFill>
                          <a:srgbClr val="FFFFFF"/>
                        </a:solidFill>
                        <a:latin typeface="Montserrat" panose="00000500000000000000" pitchFamily="2"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26%</a:t>
                      </a:r>
                      <a:r>
                        <a:rPr lang="en-GB" sz="900" dirty="0">
                          <a:solidFill>
                            <a:srgbClr val="FFFFFF"/>
                          </a:solidFill>
                          <a:latin typeface="Montserrat" panose="00000500000000000000" pitchFamily="2"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Montserrat" panose="00000500000000000000" pitchFamily="2" charset="0"/>
                          <a:ea typeface="Montserrat Light"/>
                          <a:cs typeface="Montserrat Light"/>
                          <a:sym typeface="Montserrat Light"/>
                        </a:rPr>
                        <a:t>-4.8%/-377k </a:t>
                      </a:r>
                      <a:r>
                        <a:rPr lang="en-GB" sz="900" b="1" dirty="0">
                          <a:solidFill>
                            <a:schemeClr val="accent1"/>
                          </a:solidFill>
                          <a:latin typeface="Montserrat" panose="00000500000000000000" pitchFamily="2" charset="0"/>
                          <a:ea typeface="Montserrat Light"/>
                          <a:cs typeface="Montserrat Light"/>
                          <a:sym typeface="Montserrat Light"/>
                        </a:rPr>
                        <a:t>fewer</a:t>
                      </a:r>
                      <a:r>
                        <a:rPr lang="en-GB" sz="900" dirty="0">
                          <a:solidFill>
                            <a:srgbClr val="FFFFFF"/>
                          </a:solidFill>
                          <a:latin typeface="Montserrat" panose="00000500000000000000" pitchFamily="2" charset="0"/>
                          <a:ea typeface="Montserrat Light"/>
                          <a:cs typeface="Montserrat Light"/>
                          <a:sym typeface="Montserrat Light"/>
                        </a:rPr>
                        <a:t> </a:t>
                      </a:r>
                      <a:r>
                        <a:rPr lang="en-GB" sz="900" baseline="0" dirty="0">
                          <a:solidFill>
                            <a:srgbClr val="FFFFFF"/>
                          </a:solidFill>
                          <a:latin typeface="Montserrat" panose="00000500000000000000" pitchFamily="2"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Montserrat" panose="00000500000000000000" pitchFamily="2" charset="0"/>
                          <a:ea typeface="Montserrat"/>
                          <a:cs typeface="Montserrat"/>
                          <a:sym typeface="Montserrat Light"/>
                        </a:rPr>
                        <a:t>-0.1%</a:t>
                      </a:r>
                      <a:r>
                        <a:rPr lang="en-GB" sz="900" baseline="0" dirty="0">
                          <a:solidFill>
                            <a:srgbClr val="FFFFFF"/>
                          </a:solidFill>
                          <a:latin typeface="Montserrat" panose="00000500000000000000" pitchFamily="2" charset="0"/>
                          <a:ea typeface="Montserrat"/>
                          <a:cs typeface="Montserrat"/>
                          <a:sym typeface="Montserrat Light"/>
                        </a:rPr>
                        <a:t>/-8k </a:t>
                      </a:r>
                      <a:r>
                        <a:rPr lang="en-GB" sz="900" b="1" baseline="0" dirty="0">
                          <a:solidFill>
                            <a:schemeClr val="accent1"/>
                          </a:solidFill>
                          <a:latin typeface="Montserrat" panose="00000500000000000000" pitchFamily="2" charset="0"/>
                          <a:ea typeface="Montserrat"/>
                          <a:cs typeface="Montserrat"/>
                          <a:sym typeface="Montserrat Light"/>
                        </a:rPr>
                        <a:t>fewer </a:t>
                      </a:r>
                      <a:r>
                        <a:rPr lang="en-GB" sz="900" baseline="0" dirty="0">
                          <a:solidFill>
                            <a:srgbClr val="FFFFFF"/>
                          </a:solidFill>
                          <a:latin typeface="Montserrat" panose="00000500000000000000" pitchFamily="2" charset="0"/>
                          <a:ea typeface="Montserrat"/>
                          <a:cs typeface="Montserrat"/>
                          <a:sym typeface="Montserrat Light"/>
                        </a:rPr>
                        <a:t>shoppers than </a:t>
                      </a:r>
                      <a:r>
                        <a:rPr lang="en-GB" sz="900" b="1" baseline="0" dirty="0">
                          <a:solidFill>
                            <a:srgbClr val="FFFFFF"/>
                          </a:solidFill>
                          <a:latin typeface="Montserrat" panose="00000500000000000000" pitchFamily="2" charset="0"/>
                          <a:ea typeface="Montserrat"/>
                          <a:cs typeface="Montserrat"/>
                          <a:sym typeface="Montserrat Light"/>
                        </a:rPr>
                        <a:t>last</a:t>
                      </a:r>
                      <a:r>
                        <a:rPr lang="en-GB" sz="900" baseline="0" dirty="0">
                          <a:solidFill>
                            <a:srgbClr val="FFFFFF"/>
                          </a:solidFill>
                          <a:latin typeface="Montserrat" panose="00000500000000000000" pitchFamily="2" charset="0"/>
                          <a:ea typeface="Montserrat"/>
                          <a:cs typeface="Montserrat"/>
                          <a:sym typeface="Montserrat Light"/>
                        </a:rPr>
                        <a:t> month</a:t>
                      </a:r>
                      <a:endParaRPr lang="en-GB" sz="900" dirty="0">
                        <a:solidFill>
                          <a:srgbClr val="FFFFFF"/>
                        </a:solidFill>
                        <a:latin typeface="Montserrat" panose="00000500000000000000" pitchFamily="2"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Georgia" panose="02040502050405020303" pitchFamily="18" charset="0"/>
                          <a:ea typeface="Montserrat"/>
                          <a:cs typeface="Montserrat"/>
                          <a:sym typeface="Montserrat"/>
                        </a:rPr>
                        <a:t>Growth </a:t>
                      </a:r>
                      <a:r>
                        <a:rPr lang="en-GB" sz="1400" b="0" dirty="0">
                          <a:solidFill>
                            <a:srgbClr val="FFFFFF"/>
                          </a:solidFill>
                          <a:latin typeface="Georgia" panose="02040502050405020303" pitchFamily="18" charset="0"/>
                          <a:ea typeface="Montserrat"/>
                          <a:cs typeface="Montserrat"/>
                          <a:sym typeface="Montserrat"/>
                        </a:rPr>
                        <a:t>of the</a:t>
                      </a:r>
                      <a:r>
                        <a:rPr lang="en-GB" sz="1400" b="1" dirty="0">
                          <a:solidFill>
                            <a:srgbClr val="FFFFFF"/>
                          </a:solidFill>
                          <a:latin typeface="Georgia" panose="02040502050405020303" pitchFamily="18"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62%</a:t>
                      </a:r>
                      <a:r>
                        <a:rPr lang="en-GB" sz="900" dirty="0">
                          <a:solidFill>
                            <a:srgbClr val="FFFFFF"/>
                          </a:solidFill>
                          <a:latin typeface="Montserrat" panose="00000500000000000000" pitchFamily="2" charset="0"/>
                          <a:ea typeface="Montserrat Light"/>
                          <a:cs typeface="Montserrat Light"/>
                          <a:sym typeface="Montserrat Light"/>
                        </a:rPr>
                        <a:t> of GB shoppers, </a:t>
                      </a:r>
                      <a:r>
                        <a:rPr lang="en-GB" sz="900" b="1" dirty="0">
                          <a:solidFill>
                            <a:schemeClr val="accent1"/>
                          </a:solidFill>
                          <a:latin typeface="Montserrat" panose="00000500000000000000" pitchFamily="2" charset="0"/>
                          <a:ea typeface="Montserrat Light"/>
                          <a:cs typeface="Montserrat Light"/>
                          <a:sym typeface="Montserrat Light"/>
                        </a:rPr>
                        <a:t>+7%/+1.3m more</a:t>
                      </a:r>
                      <a:r>
                        <a:rPr lang="en-GB" sz="900" dirty="0">
                          <a:solidFill>
                            <a:srgbClr val="FFFFFF"/>
                          </a:solidFill>
                          <a:latin typeface="Montserrat" panose="00000500000000000000" pitchFamily="2"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9%/+6.5m more</a:t>
                      </a:r>
                      <a:r>
                        <a:rPr lang="en-GB" sz="900" b="1" dirty="0">
                          <a:solidFill>
                            <a:srgbClr val="FFFFFF"/>
                          </a:solidFill>
                          <a:latin typeface="Montserrat" panose="00000500000000000000" pitchFamily="2" charset="0"/>
                          <a:ea typeface="Montserrat Light"/>
                          <a:cs typeface="Montserrat Light"/>
                          <a:sym typeface="Montserrat Light"/>
                        </a:rPr>
                        <a:t> </a:t>
                      </a:r>
                      <a:r>
                        <a:rPr lang="en-GB" sz="900" baseline="0" dirty="0">
                          <a:solidFill>
                            <a:srgbClr val="FFFFFF"/>
                          </a:solidFill>
                          <a:latin typeface="Montserrat" panose="00000500000000000000" pitchFamily="2" charset="0"/>
                          <a:ea typeface="Montserrat Light"/>
                          <a:cs typeface="Montserrat Light"/>
                          <a:sym typeface="Montserrat Light"/>
                        </a:rPr>
                        <a:t>shopping occasions v last year and      </a:t>
                      </a:r>
                      <a:r>
                        <a:rPr lang="en-GB" sz="900" b="1" baseline="0" dirty="0">
                          <a:solidFill>
                            <a:schemeClr val="accent1"/>
                          </a:solidFill>
                          <a:latin typeface="Montserrat" panose="00000500000000000000" pitchFamily="2" charset="0"/>
                          <a:ea typeface="Montserrat Light"/>
                          <a:cs typeface="Montserrat Light"/>
                          <a:sym typeface="Montserrat Light"/>
                        </a:rPr>
                        <a:t>2% fewer </a:t>
                      </a:r>
                      <a:r>
                        <a:rPr lang="en-GB" sz="900" baseline="0" dirty="0">
                          <a:solidFill>
                            <a:srgbClr val="FFFFFF"/>
                          </a:solidFill>
                          <a:latin typeface="Montserrat" panose="00000500000000000000" pitchFamily="2" charset="0"/>
                          <a:ea typeface="Montserrat Light"/>
                          <a:cs typeface="Montserrat Light"/>
                          <a:sym typeface="Montserrat Light"/>
                        </a:rPr>
                        <a:t>trips vs </a:t>
                      </a:r>
                      <a:r>
                        <a:rPr lang="en-GB" sz="900" b="1" baseline="0" dirty="0">
                          <a:solidFill>
                            <a:schemeClr val="accent1"/>
                          </a:solidFill>
                          <a:latin typeface="Montserrat" panose="00000500000000000000" pitchFamily="2" charset="0"/>
                          <a:ea typeface="Montserrat Light"/>
                          <a:cs typeface="Montserrat Light"/>
                          <a:sym typeface="Montserrat Light"/>
                        </a:rPr>
                        <a:t>last month</a:t>
                      </a:r>
                      <a:r>
                        <a:rPr lang="en-GB" sz="900" baseline="0" dirty="0">
                          <a:solidFill>
                            <a:srgbClr val="FFFFFF"/>
                          </a:solidFill>
                          <a:latin typeface="Montserrat" panose="00000500000000000000" pitchFamily="2" charset="0"/>
                          <a:ea typeface="Montserrat Light"/>
                          <a:cs typeface="Montserrat Light"/>
                          <a:sym typeface="Montserrat Light"/>
                        </a:rPr>
                        <a:t>.</a:t>
                      </a:r>
                      <a:endParaRPr lang="en-GB" sz="900" dirty="0">
                        <a:solidFill>
                          <a:srgbClr val="FFFFFF"/>
                        </a:solidFill>
                        <a:latin typeface="Montserrat" panose="00000500000000000000" pitchFamily="2"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64%</a:t>
                      </a:r>
                      <a:r>
                        <a:rPr lang="en-GB" sz="900" dirty="0">
                          <a:solidFill>
                            <a:srgbClr val="FFFFFF"/>
                          </a:solidFill>
                          <a:latin typeface="Montserrat" panose="00000500000000000000" pitchFamily="2" charset="0"/>
                          <a:ea typeface="Montserrat Light"/>
                          <a:cs typeface="Montserrat Light"/>
                          <a:sym typeface="Montserrat Light"/>
                        </a:rPr>
                        <a:t> of GB shoppers, </a:t>
                      </a:r>
                      <a:r>
                        <a:rPr lang="en-GB" sz="900" b="1" dirty="0">
                          <a:solidFill>
                            <a:schemeClr val="accent1"/>
                          </a:solidFill>
                          <a:latin typeface="Montserrat" panose="00000500000000000000" pitchFamily="2" charset="0"/>
                          <a:ea typeface="Montserrat Light"/>
                          <a:cs typeface="Montserrat Light"/>
                          <a:sym typeface="Montserrat Light"/>
                        </a:rPr>
                        <a:t>+10.5%/+1.8m more</a:t>
                      </a:r>
                      <a:r>
                        <a:rPr lang="en-GB" sz="900" dirty="0">
                          <a:solidFill>
                            <a:srgbClr val="FFFFFF"/>
                          </a:solidFill>
                          <a:latin typeface="Montserrat" panose="00000500000000000000" pitchFamily="2"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Montserrat" panose="00000500000000000000" pitchFamily="2" charset="0"/>
                          <a:ea typeface="Montserrat Light"/>
                          <a:cs typeface="Montserrat Light"/>
                          <a:sym typeface="Montserrat Light"/>
                        </a:rPr>
                        <a:t>+20%/+13.8m more</a:t>
                      </a:r>
                      <a:r>
                        <a:rPr lang="en-GB" sz="900" b="1" dirty="0">
                          <a:solidFill>
                            <a:srgbClr val="FFFFFF"/>
                          </a:solidFill>
                          <a:latin typeface="Montserrat" panose="00000500000000000000" pitchFamily="2" charset="0"/>
                          <a:ea typeface="Montserrat Light"/>
                          <a:cs typeface="Montserrat Light"/>
                          <a:sym typeface="Montserrat Light"/>
                        </a:rPr>
                        <a:t> </a:t>
                      </a:r>
                      <a:r>
                        <a:rPr lang="en-GB" sz="900" baseline="0" dirty="0">
                          <a:solidFill>
                            <a:srgbClr val="FFFFFF"/>
                          </a:solidFill>
                          <a:latin typeface="Montserrat" panose="00000500000000000000" pitchFamily="2" charset="0"/>
                          <a:ea typeface="Montserrat Light"/>
                          <a:cs typeface="Montserrat Light"/>
                          <a:sym typeface="Montserrat Light"/>
                        </a:rPr>
                        <a:t>shopping occasions v last year and </a:t>
                      </a:r>
                      <a:r>
                        <a:rPr lang="en-GB" sz="900" b="1" baseline="0" dirty="0">
                          <a:solidFill>
                            <a:schemeClr val="accent1"/>
                          </a:solidFill>
                          <a:latin typeface="Montserrat" panose="00000500000000000000" pitchFamily="2" charset="0"/>
                          <a:ea typeface="Montserrat Light"/>
                          <a:cs typeface="Montserrat Light"/>
                          <a:sym typeface="Montserrat Light"/>
                        </a:rPr>
                        <a:t>9% more </a:t>
                      </a:r>
                      <a:r>
                        <a:rPr lang="en-GB" sz="900" baseline="0" dirty="0">
                          <a:solidFill>
                            <a:srgbClr val="FFFFFF"/>
                          </a:solidFill>
                          <a:latin typeface="Montserrat" panose="00000500000000000000" pitchFamily="2" charset="0"/>
                          <a:ea typeface="Montserrat Light"/>
                          <a:cs typeface="Montserrat Light"/>
                          <a:sym typeface="Montserrat Light"/>
                        </a:rPr>
                        <a:t>trips vs </a:t>
                      </a:r>
                      <a:r>
                        <a:rPr lang="en-GB" sz="900" b="1" baseline="0" dirty="0">
                          <a:solidFill>
                            <a:schemeClr val="accent1"/>
                          </a:solidFill>
                          <a:latin typeface="Montserrat" panose="00000500000000000000" pitchFamily="2" charset="0"/>
                          <a:ea typeface="Montserrat Light"/>
                          <a:cs typeface="Montserrat Light"/>
                          <a:sym typeface="Montserrat Light"/>
                        </a:rPr>
                        <a:t>last month</a:t>
                      </a:r>
                      <a:r>
                        <a:rPr lang="en-GB" sz="900" baseline="0" dirty="0">
                          <a:solidFill>
                            <a:srgbClr val="FFFFFF"/>
                          </a:solidFill>
                          <a:latin typeface="Montserrat" panose="00000500000000000000" pitchFamily="2" charset="0"/>
                          <a:ea typeface="Montserrat Light"/>
                          <a:cs typeface="Montserrat Light"/>
                          <a:sym typeface="Montserrat Light"/>
                        </a:rPr>
                        <a:t>.</a:t>
                      </a:r>
                      <a:endParaRPr lang="en-GB" sz="900" dirty="0">
                        <a:solidFill>
                          <a:srgbClr val="FFFFFF"/>
                        </a:solidFill>
                        <a:latin typeface="Montserrat" panose="00000500000000000000" pitchFamily="2"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51" name="TextBox 50">
            <a:extLst>
              <a:ext uri="{FF2B5EF4-FFF2-40B4-BE49-F238E27FC236}">
                <a16:creationId xmlns:a16="http://schemas.microsoft.com/office/drawing/2014/main" id="{4FDF5172-B62B-41EB-EAB9-A74D07098FB5}"/>
              </a:ext>
            </a:extLst>
          </p:cNvPr>
          <p:cNvSpPr txBox="1"/>
          <p:nvPr/>
        </p:nvSpPr>
        <p:spPr>
          <a:xfrm>
            <a:off x="181232" y="197708"/>
            <a:ext cx="12010768" cy="707886"/>
          </a:xfrm>
          <a:prstGeom prst="rect">
            <a:avLst/>
          </a:prstGeom>
          <a:noFill/>
        </p:spPr>
        <p:txBody>
          <a:bodyPr wrap="square">
            <a:spAutoFit/>
          </a:bodyPr>
          <a:lstStyle/>
          <a:p>
            <a:r>
              <a:rPr lang="en-GB" sz="2000" dirty="0"/>
              <a:t>With </a:t>
            </a:r>
            <a:r>
              <a:rPr lang="en-GB" sz="2000" b="1" i="1" dirty="0">
                <a:latin typeface="Georgia" panose="02040502050405020303" pitchFamily="18" charset="0"/>
              </a:rPr>
              <a:t>more</a:t>
            </a:r>
            <a:r>
              <a:rPr lang="en-GB" sz="2000" dirty="0"/>
              <a:t> inflation, shoppers looked </a:t>
            </a:r>
            <a:r>
              <a:rPr lang="en-GB" sz="2000" b="1" i="1" dirty="0">
                <a:latin typeface="Georgia" panose="02040502050405020303" pitchFamily="18" charset="0"/>
              </a:rPr>
              <a:t>across channels </a:t>
            </a:r>
            <a:r>
              <a:rPr lang="en-GB" sz="2000" dirty="0"/>
              <a:t>to save money, shopping </a:t>
            </a:r>
            <a:r>
              <a:rPr lang="en-GB" sz="2000" b="1" i="1" dirty="0">
                <a:latin typeface="Georgia" panose="02040502050405020303" pitchFamily="18" charset="0"/>
              </a:rPr>
              <a:t>more often in stores</a:t>
            </a:r>
            <a:r>
              <a:rPr lang="en-GB" sz="2000" dirty="0"/>
              <a:t> and </a:t>
            </a:r>
            <a:r>
              <a:rPr lang="en-GB" sz="2000" b="1" i="1" dirty="0">
                <a:latin typeface="Georgia" panose="02040502050405020303" pitchFamily="18" charset="0"/>
              </a:rPr>
              <a:t>more shoppers </a:t>
            </a:r>
            <a:r>
              <a:rPr lang="en-GB" sz="2000" dirty="0"/>
              <a:t>visited the </a:t>
            </a:r>
            <a:r>
              <a:rPr lang="en-GB" sz="2000" b="1" i="1" dirty="0">
                <a:latin typeface="Georgia" panose="02040502050405020303" pitchFamily="18" charset="0"/>
              </a:rPr>
              <a:t>Discounters</a:t>
            </a:r>
            <a:r>
              <a:rPr lang="en-GB" sz="2000" dirty="0"/>
              <a:t> resulting in a </a:t>
            </a:r>
            <a:r>
              <a:rPr lang="en-GB" sz="2000" b="1" i="1" dirty="0">
                <a:latin typeface="Georgia" panose="02040502050405020303" pitchFamily="18" charset="0"/>
              </a:rPr>
              <a:t>deluge</a:t>
            </a:r>
            <a:r>
              <a:rPr lang="en-GB" sz="2000" dirty="0"/>
              <a:t> of </a:t>
            </a:r>
            <a:r>
              <a:rPr lang="en-GB" sz="2000" b="1" i="1" dirty="0">
                <a:latin typeface="Georgia" panose="02040502050405020303" pitchFamily="18" charset="0"/>
              </a:rPr>
              <a:t>additional trips</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35787" y="1748285"/>
            <a:ext cx="7780229" cy="3693319"/>
          </a:xfrm>
          <a:prstGeom prst="rect">
            <a:avLst/>
          </a:prstGeom>
          <a:noFill/>
        </p:spPr>
        <p:txBody>
          <a:bodyPr wrap="square">
            <a:spAutoFit/>
          </a:bodyPr>
          <a:lstStyle/>
          <a:p>
            <a:pPr algn="l">
              <a:spcAft>
                <a:spcPts val="600"/>
              </a:spcAft>
            </a:pPr>
            <a:r>
              <a:rPr lang="en-US" sz="2800" dirty="0">
                <a:solidFill>
                  <a:schemeClr val="tx1"/>
                </a:solidFill>
                <a:latin typeface="Georgia" panose="02040502050405020303" pitchFamily="18" charset="0"/>
              </a:rPr>
              <a:t>Shoppers are more </a:t>
            </a:r>
            <a:r>
              <a:rPr lang="en-US" sz="2800" i="1" dirty="0">
                <a:solidFill>
                  <a:schemeClr val="tx1"/>
                </a:solidFill>
                <a:latin typeface="Georgia" panose="02040502050405020303" pitchFamily="18" charset="0"/>
              </a:rPr>
              <a:t>mindful</a:t>
            </a:r>
            <a:r>
              <a:rPr lang="en-US" sz="2800" dirty="0">
                <a:solidFill>
                  <a:schemeClr val="tx1"/>
                </a:solidFill>
                <a:latin typeface="Georgia" panose="02040502050405020303" pitchFamily="18" charset="0"/>
              </a:rPr>
              <a:t> than ever of </a:t>
            </a:r>
            <a:r>
              <a:rPr lang="en-US" sz="2800" dirty="0">
                <a:solidFill>
                  <a:schemeClr val="accent1"/>
                </a:solidFill>
                <a:latin typeface="Georgia" panose="02040502050405020303" pitchFamily="18" charset="0"/>
              </a:rPr>
              <a:t>saving</a:t>
            </a:r>
            <a:r>
              <a:rPr lang="en-US" sz="2800" dirty="0">
                <a:solidFill>
                  <a:schemeClr val="tx1"/>
                </a:solidFill>
                <a:latin typeface="Georgia" panose="02040502050405020303" pitchFamily="18" charset="0"/>
              </a:rPr>
              <a:t> money.  As supermarkets continue to </a:t>
            </a:r>
            <a:r>
              <a:rPr lang="en-US" sz="2800" i="1" dirty="0">
                <a:solidFill>
                  <a:schemeClr val="tx1"/>
                </a:solidFill>
                <a:latin typeface="Georgia" panose="02040502050405020303" pitchFamily="18" charset="0"/>
              </a:rPr>
              <a:t>price match </a:t>
            </a:r>
            <a:r>
              <a:rPr lang="en-US" sz="2800" dirty="0">
                <a:solidFill>
                  <a:schemeClr val="tx1"/>
                </a:solidFill>
                <a:latin typeface="Georgia" panose="02040502050405020303" pitchFamily="18" charset="0"/>
              </a:rPr>
              <a:t>agains</a:t>
            </a:r>
            <a:r>
              <a:rPr lang="en-US" sz="2800" dirty="0">
                <a:latin typeface="Georgia" panose="02040502050405020303" pitchFamily="18" charset="0"/>
              </a:rPr>
              <a:t>t the discounters this re-inforces the message to shoppers that this channel has the </a:t>
            </a:r>
            <a:r>
              <a:rPr lang="en-US" sz="2800" i="1" dirty="0">
                <a:latin typeface="Georgia" panose="02040502050405020303" pitchFamily="18" charset="0"/>
              </a:rPr>
              <a:t>cheapest prices</a:t>
            </a:r>
            <a:r>
              <a:rPr lang="en-US" sz="2800" dirty="0">
                <a:latin typeface="Georgia" panose="02040502050405020303" pitchFamily="18" charset="0"/>
              </a:rPr>
              <a:t>.</a:t>
            </a:r>
          </a:p>
          <a:p>
            <a:pPr algn="l">
              <a:spcAft>
                <a:spcPts val="600"/>
              </a:spcAft>
            </a:pPr>
            <a:endParaRPr lang="en-US" sz="2800" dirty="0">
              <a:solidFill>
                <a:schemeClr val="tx1"/>
              </a:solidFill>
              <a:latin typeface="Georgia" panose="02040502050405020303" pitchFamily="18" charset="0"/>
            </a:endParaRPr>
          </a:p>
          <a:p>
            <a:pPr algn="l">
              <a:spcAft>
                <a:spcPts val="600"/>
              </a:spcAft>
            </a:pPr>
            <a:r>
              <a:rPr lang="en-US" sz="2800" i="1" dirty="0">
                <a:solidFill>
                  <a:schemeClr val="accent1"/>
                </a:solidFill>
                <a:latin typeface="Georgia" panose="02040502050405020303" pitchFamily="18" charset="0"/>
              </a:rPr>
              <a:t>More customers shopped at the Discounters which contributed to a 20% uplift in visits</a:t>
            </a: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4384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highlight>
                <a:srgbClr val="F2F2F2"/>
              </a:highlight>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elsenIQ Scantrack Grocery Multiples</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2242339851"/>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2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25</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February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374564498"/>
              </p:ext>
            </p:extLst>
          </p:nvPr>
        </p:nvGraphicFramePr>
        <p:xfrm>
          <a:off x="6350691" y="2018097"/>
          <a:ext cx="5520266"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50103" y="0"/>
            <a:ext cx="12010373" cy="707886"/>
          </a:xfrm>
          <a:prstGeom prst="rect">
            <a:avLst/>
          </a:prstGeom>
          <a:noFill/>
        </p:spPr>
        <p:txBody>
          <a:bodyPr wrap="square">
            <a:spAutoFit/>
          </a:bodyPr>
          <a:lstStyle/>
          <a:p>
            <a:r>
              <a:rPr lang="en-GB" sz="2000" dirty="0"/>
              <a:t>Shoppers </a:t>
            </a:r>
            <a:r>
              <a:rPr lang="en-GB" sz="2000" b="1" i="1" dirty="0">
                <a:latin typeface="Georgia" panose="02040502050405020303" pitchFamily="18" charset="0"/>
              </a:rPr>
              <a:t>spent more </a:t>
            </a:r>
            <a:r>
              <a:rPr lang="en-GB" sz="2000" dirty="0"/>
              <a:t>on Food &amp; Drink and are </a:t>
            </a:r>
            <a:r>
              <a:rPr lang="en-GB" sz="2000" b="1" i="1" dirty="0">
                <a:latin typeface="Georgia" panose="02040502050405020303" pitchFamily="18" charset="0"/>
              </a:rPr>
              <a:t>cutting back</a:t>
            </a:r>
            <a:r>
              <a:rPr lang="en-GB" sz="2000" dirty="0"/>
              <a:t> on </a:t>
            </a:r>
            <a:r>
              <a:rPr lang="en-GB" sz="2000" b="1" i="1" dirty="0">
                <a:latin typeface="Georgia" panose="02040502050405020303" pitchFamily="18" charset="0"/>
              </a:rPr>
              <a:t>discretionary expenditure </a:t>
            </a:r>
            <a:r>
              <a:rPr lang="en-GB" sz="2000" dirty="0"/>
              <a:t>including </a:t>
            </a:r>
            <a:r>
              <a:rPr lang="en-GB" sz="2000" b="1" i="1" dirty="0">
                <a:latin typeface="Georgia" panose="02040502050405020303" pitchFamily="18" charset="0"/>
              </a:rPr>
              <a:t>Tobacco, BWS </a:t>
            </a:r>
            <a:r>
              <a:rPr lang="en-GB" sz="2000" dirty="0"/>
              <a:t>and </a:t>
            </a:r>
            <a:r>
              <a:rPr lang="en-GB" sz="2000" b="1" i="1" dirty="0">
                <a:latin typeface="Georgia" panose="02040502050405020303" pitchFamily="18" charset="0"/>
              </a:rPr>
              <a:t>Non Food</a:t>
            </a:r>
            <a:endParaRPr lang="en-GB" sz="2000" dirty="0"/>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23"/>
          </p:nvPr>
        </p:nvSpPr>
        <p:spPr>
          <a:xfrm>
            <a:off x="294997" y="5966008"/>
            <a:ext cx="11582399" cy="365125"/>
          </a:xfrm>
        </p:spPr>
        <p:txBody>
          <a:bodyPr/>
          <a:lstStyle/>
          <a:p>
            <a:r>
              <a:rPr lang="en-US" dirty="0"/>
              <a:t>Source:  NielsenIQ Scantrack Grocery Multiples 4w/e 25</a:t>
            </a:r>
            <a:r>
              <a:rPr lang="en-US" baseline="30000" dirty="0"/>
              <a:t>th</a:t>
            </a:r>
            <a:r>
              <a:rPr lang="en-US" dirty="0"/>
              <a:t> February 2023 vs year ago (value growth) </a:t>
            </a:r>
          </a:p>
        </p:txBody>
      </p:sp>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4077423461"/>
              </p:ext>
            </p:extLst>
          </p:nvPr>
        </p:nvGraphicFramePr>
        <p:xfrm>
          <a:off x="1423114" y="1867436"/>
          <a:ext cx="9813700" cy="3925657"/>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ealth &amp; </a:t>
                      </a:r>
                    </a:p>
                    <a:p>
                      <a:pPr algn="r"/>
                      <a:r>
                        <a:rPr lang="en-GB" sz="1800" dirty="0">
                          <a:latin typeface="+mj-lt"/>
                        </a:rPr>
                        <a:t>Personal Care</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Discretionary/</a:t>
                      </a:r>
                    </a:p>
                    <a:p>
                      <a:pPr algn="r"/>
                      <a:r>
                        <a:rPr lang="en-GB" sz="1800" dirty="0">
                          <a:latin typeface="+mj-lt"/>
                        </a:rPr>
                        <a:t>Treats</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Throat Care +55%</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ough/Cold &amp; Flu +42%</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uncare</a:t>
                      </a:r>
                      <a:r>
                        <a:rPr lang="en-GB" sz="1200" b="1" kern="1200" baseline="0" dirty="0">
                          <a:solidFill>
                            <a:schemeClr val="tx1"/>
                          </a:solidFill>
                          <a:latin typeface="+mn-lt"/>
                          <a:ea typeface="Montserrat Light"/>
                          <a:cs typeface="Montserrat Light"/>
                          <a:sym typeface="Montserrat Light"/>
                        </a:rPr>
                        <a:t> +28%</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ire Lighters</a:t>
                      </a:r>
                      <a:r>
                        <a:rPr lang="en-GB" sz="1200" b="1" kern="1200" baseline="0" dirty="0">
                          <a:solidFill>
                            <a:schemeClr val="tx1"/>
                          </a:solidFill>
                          <a:latin typeface="+mn-lt"/>
                          <a:ea typeface="Montserrat Light"/>
                          <a:cs typeface="Montserrat Light"/>
                          <a:sym typeface="Montserrat Light"/>
                        </a:rPr>
                        <a:t> +28%</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ncontinence</a:t>
                      </a:r>
                      <a:r>
                        <a:rPr lang="en-GB" sz="1200" b="1" kern="1200" baseline="0" dirty="0">
                          <a:solidFill>
                            <a:schemeClr val="tx1"/>
                          </a:solidFill>
                          <a:latin typeface="+mn-lt"/>
                          <a:ea typeface="Montserrat Light"/>
                          <a:cs typeface="Montserrat Light"/>
                          <a:sym typeface="Montserrat Light"/>
                        </a:rPr>
                        <a:t> +22%</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Deodorants &amp; Body</a:t>
                      </a:r>
                      <a:r>
                        <a:rPr lang="en-GB" sz="1200" b="1" kern="1200" baseline="0" dirty="0">
                          <a:solidFill>
                            <a:schemeClr val="tx1"/>
                          </a:solidFill>
                          <a:latin typeface="+mn-lt"/>
                          <a:ea typeface="Montserrat Light"/>
                          <a:cs typeface="Montserrat Light"/>
                          <a:sym typeface="Montserrat Light"/>
                        </a:rPr>
                        <a:t> +19%</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a:t>
                      </a:r>
                      <a:r>
                        <a:rPr lang="en-GB" sz="1200" b="1" kern="1200" baseline="0" dirty="0">
                          <a:solidFill>
                            <a:schemeClr val="tx1"/>
                          </a:solidFill>
                          <a:latin typeface="+mn-lt"/>
                          <a:ea typeface="Montserrat Light"/>
                          <a:cs typeface="Montserrat Light"/>
                          <a:sym typeface="Montserrat Light"/>
                        </a:rPr>
                        <a:t> +19%</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VMS &amp; Dietary Health</a:t>
                      </a:r>
                      <a:r>
                        <a:rPr lang="en-GB" sz="1200" b="1" kern="1200" baseline="0" dirty="0">
                          <a:solidFill>
                            <a:schemeClr val="tx1"/>
                          </a:solidFill>
                          <a:latin typeface="+mn-lt"/>
                          <a:ea typeface="Montserrat Light"/>
                          <a:cs typeface="Montserrat Light"/>
                          <a:sym typeface="Montserrat Light"/>
                        </a:rPr>
                        <a:t> +14%</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Baby Changing</a:t>
                      </a:r>
                      <a:r>
                        <a:rPr lang="en-GB" sz="1200" b="1" kern="1200" baseline="0" dirty="0">
                          <a:solidFill>
                            <a:schemeClr val="tx1"/>
                          </a:solidFill>
                          <a:latin typeface="+mn-lt"/>
                          <a:ea typeface="Montserrat Light"/>
                          <a:cs typeface="Montserrat Light"/>
                          <a:sym typeface="Montserrat Light"/>
                        </a:rPr>
                        <a:t> +13%</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ildren’s Medicine</a:t>
                      </a:r>
                      <a:r>
                        <a:rPr lang="en-GB" sz="1200" b="1" kern="1200" baseline="0" dirty="0">
                          <a:solidFill>
                            <a:schemeClr val="tx1"/>
                          </a:solidFill>
                          <a:latin typeface="+mn-lt"/>
                          <a:ea typeface="Montserrat Light"/>
                          <a:cs typeface="Montserrat Light"/>
                          <a:sym typeface="Montserrat Light"/>
                        </a:rPr>
                        <a:t> +13%</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an Pro</a:t>
                      </a:r>
                      <a:r>
                        <a:rPr lang="en-GB" sz="1200" b="1" kern="1200" baseline="0" dirty="0">
                          <a:solidFill>
                            <a:schemeClr val="tx1"/>
                          </a:solidFill>
                          <a:latin typeface="+mn-lt"/>
                          <a:ea typeface="Montserrat Light"/>
                          <a:cs typeface="Montserrat Light"/>
                          <a:sym typeface="Montserrat Light"/>
                        </a:rPr>
                        <a:t> +11%</a:t>
                      </a: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endParaRPr lang="en-GB" sz="1200" b="1" kern="1200" baseline="0" dirty="0">
                        <a:solidFill>
                          <a:schemeClr val="tx1"/>
                        </a:solidFill>
                        <a:latin typeface="+mn-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Eggs +2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Oil +25%</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Poultry +24%</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ilk +22%</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Potato +2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ry Noodles +20%</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ry Pasta +19%</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oilet Tissue +1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able Sauce/Cond +17%</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ozen Veg +17%</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eese +17%</a:t>
                      </a:r>
                    </a:p>
                  </a:txBody>
                  <a:tcPr marL="91425" marR="91425" marT="91425" marB="91425">
                    <a:solidFill>
                      <a:schemeClr val="bg1">
                        <a:lumMod val="65000"/>
                      </a:schemeClr>
                    </a:solidFill>
                  </a:tcPr>
                </a:tc>
                <a:tc>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n-lt"/>
                        <a:ea typeface="Montserrat"/>
                        <a:cs typeface="Montserrat"/>
                        <a:sym typeface="Montserrat"/>
                      </a:endParaRP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Soup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2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olls &amp; Baguettes +19%</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andwiche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ooking Sauce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ot Snack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avoury Baking Mixe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Fruit Juice +1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Asian Accom +1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Pizza +1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esh Sauces +12%</a:t>
                      </a:r>
                    </a:p>
                    <a:p>
                      <a:pPr marL="73660" lvl="0" indent="0" algn="l" rtl="0">
                        <a:spcBef>
                          <a:spcPts val="0"/>
                        </a:spcBef>
                        <a:spcAft>
                          <a:spcPts val="0"/>
                        </a:spcAft>
                        <a:buClr>
                          <a:srgbClr val="FFFFFF"/>
                        </a:buClr>
                        <a:buSzPts val="1000"/>
                        <a:buFont typeface="Montserrat Light"/>
                        <a:buNone/>
                      </a:pPr>
                      <a:endParaRPr lang="en-GB" sz="1200" b="1" dirty="0">
                        <a:solidFill>
                          <a:schemeClr val="tx1"/>
                        </a:solidFill>
                        <a:latin typeface="+mn-lt"/>
                        <a:ea typeface="Montserrat"/>
                        <a:cs typeface="Montserrat"/>
                        <a:sym typeface="Montserrat"/>
                      </a:endParaRPr>
                    </a:p>
                  </a:txBody>
                  <a:tcPr marL="91425" marR="91425" marT="91425" marB="91425">
                    <a:solidFill>
                      <a:schemeClr val="bg1">
                        <a:lumMod val="65000"/>
                      </a:schemeClr>
                    </a:solidFill>
                  </a:tcPr>
                </a:tc>
                <a:tc>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e-usable Shop Bags +4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Gift Packs (Toiletries) +3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ports/Energy Drinks +3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s +31%</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Morning Goods/Spec +1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osmetics +1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Beauty/Skincare +17%</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weet Biscuit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Bulbs &amp; Seed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lav Carb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Cream/Custard +15%</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99621">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dirty="0">
                          <a:solidFill>
                            <a:schemeClr val="bg1"/>
                          </a:solidFill>
                          <a:latin typeface="Georgia" panose="02040502050405020303" pitchFamily="18" charset="0"/>
                          <a:ea typeface="Montserrat"/>
                          <a:cs typeface="Montserrat"/>
                          <a:sym typeface="Montserrat"/>
                        </a:rPr>
                        <a:t>Shoppers spent more on </a:t>
                      </a:r>
                      <a:r>
                        <a:rPr lang="en-GB" sz="1400" b="1" i="1" dirty="0">
                          <a:solidFill>
                            <a:schemeClr val="bg1"/>
                          </a:solidFill>
                          <a:latin typeface="Georgia" panose="02040502050405020303" pitchFamily="18" charset="0"/>
                          <a:ea typeface="Montserrat"/>
                          <a:cs typeface="Montserrat"/>
                          <a:sym typeface="Montserrat"/>
                        </a:rPr>
                        <a:t>health</a:t>
                      </a:r>
                      <a:r>
                        <a:rPr lang="en-GB" sz="1400" b="0" i="0" dirty="0">
                          <a:solidFill>
                            <a:schemeClr val="bg1"/>
                          </a:solidFill>
                          <a:latin typeface="Georgia" panose="02040502050405020303" pitchFamily="18" charset="0"/>
                          <a:ea typeface="Montserrat"/>
                          <a:cs typeface="Montserrat"/>
                          <a:sym typeface="Montserrat"/>
                        </a:rPr>
                        <a:t>, managing </a:t>
                      </a:r>
                      <a:r>
                        <a:rPr lang="en-GB" sz="1400" b="1" i="1" dirty="0">
                          <a:solidFill>
                            <a:schemeClr val="bg1"/>
                          </a:solidFill>
                          <a:latin typeface="Georgia" panose="02040502050405020303" pitchFamily="18" charset="0"/>
                          <a:ea typeface="Montserrat"/>
                          <a:cs typeface="Montserrat"/>
                          <a:sym typeface="Montserrat"/>
                        </a:rPr>
                        <a:t>everyday groceries</a:t>
                      </a:r>
                      <a:r>
                        <a:rPr lang="en-GB" sz="1400" b="0" i="1" dirty="0">
                          <a:solidFill>
                            <a:schemeClr val="bg1"/>
                          </a:solidFill>
                          <a:latin typeface="Georgia" panose="02040502050405020303" pitchFamily="18" charset="0"/>
                          <a:ea typeface="Montserrat"/>
                          <a:cs typeface="Montserrat"/>
                          <a:sym typeface="Montserrat"/>
                        </a:rPr>
                        <a:t>, </a:t>
                      </a:r>
                      <a:r>
                        <a:rPr lang="en-GB" sz="1400" b="1" i="1" dirty="0">
                          <a:solidFill>
                            <a:schemeClr val="bg1"/>
                          </a:solidFill>
                          <a:latin typeface="Georgia" panose="02040502050405020303" pitchFamily="18" charset="0"/>
                          <a:ea typeface="Montserrat"/>
                          <a:cs typeface="Montserrat"/>
                          <a:sym typeface="Montserrat"/>
                        </a:rPr>
                        <a:t>convenience</a:t>
                      </a:r>
                      <a:r>
                        <a:rPr lang="en-GB" sz="1400" b="0" i="1" dirty="0">
                          <a:solidFill>
                            <a:schemeClr val="bg1"/>
                          </a:solidFill>
                          <a:latin typeface="Georgia" panose="02040502050405020303" pitchFamily="18" charset="0"/>
                          <a:ea typeface="Montserrat"/>
                          <a:cs typeface="Montserrat"/>
                          <a:sym typeface="Montserrat"/>
                        </a:rPr>
                        <a:t> </a:t>
                      </a:r>
                      <a:r>
                        <a:rPr lang="en-GB" sz="1400" b="0" i="0" dirty="0">
                          <a:solidFill>
                            <a:schemeClr val="bg1"/>
                          </a:solidFill>
                          <a:latin typeface="Georgia" panose="02040502050405020303" pitchFamily="18" charset="0"/>
                          <a:ea typeface="Montserrat"/>
                          <a:cs typeface="Montserrat"/>
                          <a:sym typeface="Montserrat"/>
                        </a:rPr>
                        <a:t>and</a:t>
                      </a:r>
                      <a:r>
                        <a:rPr lang="en-GB" sz="1400" b="0" i="1" dirty="0">
                          <a:solidFill>
                            <a:schemeClr val="bg1"/>
                          </a:solidFill>
                          <a:latin typeface="Georgia" panose="02040502050405020303" pitchFamily="18" charset="0"/>
                          <a:ea typeface="Montserrat"/>
                          <a:cs typeface="Montserrat"/>
                          <a:sym typeface="Montserrat"/>
                        </a:rPr>
                        <a:t> </a:t>
                      </a:r>
                      <a:r>
                        <a:rPr lang="en-GB" sz="1400" b="1" i="1" dirty="0">
                          <a:solidFill>
                            <a:schemeClr val="bg1"/>
                          </a:solidFill>
                          <a:latin typeface="Georgia" panose="02040502050405020303" pitchFamily="18" charset="0"/>
                          <a:ea typeface="Montserrat"/>
                          <a:cs typeface="Montserrat"/>
                          <a:sym typeface="Montserrat"/>
                        </a:rPr>
                        <a:t>affordable treats </a:t>
                      </a:r>
                      <a:r>
                        <a:rPr lang="en-GB" sz="1400" b="0" i="0" dirty="0">
                          <a:solidFill>
                            <a:schemeClr val="bg1"/>
                          </a:solidFill>
                          <a:latin typeface="Georgia" panose="02040502050405020303" pitchFamily="18" charset="0"/>
                          <a:ea typeface="Montserrat"/>
                          <a:cs typeface="Montserrat"/>
                          <a:sym typeface="Montserrat"/>
                        </a:rPr>
                        <a:t>and</a:t>
                      </a:r>
                      <a:r>
                        <a:rPr lang="en-GB" sz="1400" b="0" i="1" dirty="0">
                          <a:solidFill>
                            <a:schemeClr val="bg1"/>
                          </a:solidFill>
                          <a:latin typeface="Georgia" panose="02040502050405020303" pitchFamily="18" charset="0"/>
                          <a:ea typeface="Montserrat"/>
                          <a:cs typeface="Montserrat"/>
                          <a:sym typeface="Montserrat"/>
                        </a:rPr>
                        <a:t> </a:t>
                      </a:r>
                      <a:r>
                        <a:rPr lang="en-GB" sz="1400" b="1" i="1" dirty="0">
                          <a:solidFill>
                            <a:schemeClr val="bg1"/>
                          </a:solidFill>
                          <a:latin typeface="Georgia" panose="02040502050405020303" pitchFamily="18" charset="0"/>
                          <a:ea typeface="Montserrat"/>
                          <a:cs typeface="Montserrat"/>
                          <a:sym typeface="Montserrat"/>
                        </a:rPr>
                        <a:t>leisure</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51" name="TextBox 50">
            <a:extLst>
              <a:ext uri="{FF2B5EF4-FFF2-40B4-BE49-F238E27FC236}">
                <a16:creationId xmlns:a16="http://schemas.microsoft.com/office/drawing/2014/main" id="{4FDF5172-B62B-41EB-EAB9-A74D07098FB5}"/>
              </a:ext>
            </a:extLst>
          </p:cNvPr>
          <p:cNvSpPr txBox="1"/>
          <p:nvPr/>
        </p:nvSpPr>
        <p:spPr>
          <a:xfrm>
            <a:off x="181232" y="197708"/>
            <a:ext cx="12010768" cy="707886"/>
          </a:xfrm>
          <a:prstGeom prst="rect">
            <a:avLst/>
          </a:prstGeom>
          <a:noFill/>
        </p:spPr>
        <p:txBody>
          <a:bodyPr wrap="square">
            <a:spAutoFit/>
          </a:bodyPr>
          <a:lstStyle/>
          <a:p>
            <a:r>
              <a:rPr lang="en-GB" sz="2000" dirty="0"/>
              <a:t>Shoppers continue to make choices </a:t>
            </a:r>
            <a:r>
              <a:rPr lang="en-GB" sz="2000" b="1" i="1" dirty="0">
                <a:latin typeface="Georgia" panose="02040502050405020303" pitchFamily="18" charset="0"/>
              </a:rPr>
              <a:t>prioritising Health, Convenience</a:t>
            </a:r>
            <a:r>
              <a:rPr lang="en-GB" sz="2000" dirty="0"/>
              <a:t> and </a:t>
            </a:r>
            <a:r>
              <a:rPr lang="en-GB" sz="2000" b="1" i="1" dirty="0">
                <a:latin typeface="Georgia" panose="02040502050405020303" pitchFamily="18" charset="0"/>
              </a:rPr>
              <a:t>Treats </a:t>
            </a:r>
            <a:r>
              <a:rPr lang="en-GB" sz="2000" dirty="0"/>
              <a:t>and are looking for alternative meal solutions to help manage overall spend</a:t>
            </a:r>
            <a:endParaRPr lang="en-GB" sz="2000" b="1" i="1" dirty="0">
              <a:latin typeface="Georgia" panose="02040502050405020303" pitchFamily="18" charset="0"/>
            </a:endParaRP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4628" y="1894936"/>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A4480800-993B-0138-38BF-72AEBFA18D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0380" y="190764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5292" y="1895820"/>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35711" y="1894937"/>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88559" y="2695627"/>
            <a:ext cx="3503952" cy="2390972"/>
          </a:xfrm>
        </p:spPr>
        <p:txBody>
          <a:bodyPr/>
          <a:lstStyle/>
          <a:p>
            <a:br>
              <a:rPr lang="en-US" sz="2400" dirty="0">
                <a:latin typeface="Georgia" panose="02040502050405020303" pitchFamily="18" charset="0"/>
              </a:rPr>
            </a:br>
            <a:br>
              <a:rPr lang="en-US" sz="2400" dirty="0">
                <a:latin typeface="Georgia" panose="02040502050405020303" pitchFamily="18" charset="0"/>
              </a:rPr>
            </a:br>
            <a:r>
              <a:rPr lang="en-US" sz="2400" dirty="0">
                <a:latin typeface="Georgia" panose="02040502050405020303" pitchFamily="18" charset="0"/>
              </a:rPr>
              <a:t>Shoppers are spending more wisely.</a:t>
            </a:r>
            <a:br>
              <a:rPr lang="en-US" sz="2400" dirty="0">
                <a:latin typeface="Georgia" panose="02040502050405020303" pitchFamily="18" charset="0"/>
              </a:rPr>
            </a:br>
            <a:br>
              <a:rPr lang="en-US" sz="2400" dirty="0">
                <a:latin typeface="Georgia" panose="02040502050405020303" pitchFamily="18" charset="0"/>
              </a:rPr>
            </a:br>
            <a:r>
              <a:rPr lang="en-US" sz="2400" b="0" i="1" dirty="0">
                <a:latin typeface="Georgia" panose="02040502050405020303" pitchFamily="18" charset="0"/>
              </a:rPr>
              <a:t>Trimming back on </a:t>
            </a:r>
            <a:r>
              <a:rPr lang="en-US" sz="2400" i="1" dirty="0">
                <a:latin typeface="Georgia" panose="02040502050405020303" pitchFamily="18" charset="0"/>
              </a:rPr>
              <a:t>core groceries</a:t>
            </a:r>
            <a:r>
              <a:rPr lang="en-US" sz="2400" b="0" i="1" dirty="0">
                <a:latin typeface="Georgia" panose="02040502050405020303" pitchFamily="18" charset="0"/>
              </a:rPr>
              <a:t> helps shoppers </a:t>
            </a:r>
            <a:r>
              <a:rPr lang="en-US" sz="2400" i="1" dirty="0">
                <a:latin typeface="Georgia" panose="02040502050405020303" pitchFamily="18" charset="0"/>
              </a:rPr>
              <a:t>afford healthcare </a:t>
            </a:r>
            <a:r>
              <a:rPr lang="en-US" sz="2400" b="0" i="1" dirty="0">
                <a:latin typeface="Georgia" panose="02040502050405020303" pitchFamily="18" charset="0"/>
              </a:rPr>
              <a:t>and some </a:t>
            </a:r>
            <a:r>
              <a:rPr lang="en-US" sz="2400" i="1" dirty="0">
                <a:latin typeface="Georgia" panose="02040502050405020303" pitchFamily="18" charset="0"/>
              </a:rPr>
              <a:t>discretionary/treat </a:t>
            </a:r>
            <a:r>
              <a:rPr lang="en-US" sz="2400" b="0" i="1" dirty="0">
                <a:latin typeface="Georgia" panose="02040502050405020303" pitchFamily="18" charset="0"/>
              </a:rPr>
              <a:t>items.</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elsenIQ Scantrack Grocery Multiples 4w/e 25</a:t>
            </a:r>
            <a:r>
              <a:rPr lang="en-PH" sz="800" baseline="30000" dirty="0">
                <a:latin typeface="Montserrat" panose="00000500000000000000" pitchFamily="2" charset="0"/>
              </a:rPr>
              <a:t>th</a:t>
            </a:r>
            <a:r>
              <a:rPr lang="en-PH" sz="800" dirty="0">
                <a:latin typeface="Montserrat" panose="00000500000000000000" pitchFamily="2" charset="0"/>
              </a:rPr>
              <a:t> February 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2776004212"/>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6" name="Rectangle 5">
            <a:extLst>
              <a:ext uri="{FF2B5EF4-FFF2-40B4-BE49-F238E27FC236}">
                <a16:creationId xmlns:a16="http://schemas.microsoft.com/office/drawing/2014/main" id="{4A457943-D181-7862-9BFC-62C0D6A9FD39}"/>
              </a:ext>
            </a:extLst>
          </p:cNvPr>
          <p:cNvSpPr/>
          <p:nvPr/>
        </p:nvSpPr>
        <p:spPr>
          <a:xfrm>
            <a:off x="8716539"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42DA40A3-A03F-47C5-0CD3-F43FBE87B88D}"/>
              </a:ext>
            </a:extLst>
          </p:cNvPr>
          <p:cNvSpPr/>
          <p:nvPr/>
        </p:nvSpPr>
        <p:spPr>
          <a:xfrm>
            <a:off x="871653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716539" y="3796233"/>
            <a:ext cx="198935" cy="8725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40D9358A-7475-8A39-FF1A-6E4590C9D347}"/>
              </a:ext>
            </a:extLst>
          </p:cNvPr>
          <p:cNvSpPr/>
          <p:nvPr/>
        </p:nvSpPr>
        <p:spPr>
          <a:xfrm>
            <a:off x="8716539" y="3920604"/>
            <a:ext cx="198935" cy="87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49162"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47454" y="3504326"/>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47454" y="3739633"/>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17" name="TextBox 16">
            <a:extLst>
              <a:ext uri="{FF2B5EF4-FFF2-40B4-BE49-F238E27FC236}">
                <a16:creationId xmlns:a16="http://schemas.microsoft.com/office/drawing/2014/main" id="{A74EE63E-CC73-2F7D-BEE9-A94DF824E863}"/>
              </a:ext>
            </a:extLst>
          </p:cNvPr>
          <p:cNvSpPr txBox="1"/>
          <p:nvPr/>
        </p:nvSpPr>
        <p:spPr>
          <a:xfrm>
            <a:off x="8850981" y="3858272"/>
            <a:ext cx="1336208" cy="215444"/>
          </a:xfrm>
          <a:prstGeom prst="rect">
            <a:avLst/>
          </a:prstGeom>
          <a:noFill/>
        </p:spPr>
        <p:txBody>
          <a:bodyPr wrap="square" rtlCol="0">
            <a:spAutoFit/>
          </a:bodyPr>
          <a:lstStyle/>
          <a:p>
            <a:r>
              <a:rPr lang="en-GB" sz="800" dirty="0">
                <a:latin typeface="Montserrat" panose="00000500000000000000" pitchFamily="2" charset="0"/>
              </a:rPr>
              <a:t>Discretionary/Treats</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4%</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857018891"/>
              </p:ext>
            </p:extLst>
          </p:nvPr>
        </p:nvGraphicFramePr>
        <p:xfrm>
          <a:off x="4397004" y="1756130"/>
          <a:ext cx="5403819" cy="3537087"/>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else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86744" y="1316603"/>
            <a:ext cx="11730295" cy="2995638"/>
            <a:chOff x="4922685" y="5281595"/>
            <a:chExt cx="12365283" cy="4429453"/>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91616"/>
            </a:xfrm>
            <a:prstGeom prst="rect">
              <a:avLst/>
            </a:prstGeom>
            <a:noFill/>
          </p:spPr>
          <p:txBody>
            <a:bodyPr wrap="square">
              <a:spAutoFit/>
            </a:bodyPr>
            <a:lstStyle/>
            <a:p>
              <a:pPr algn="ctr"/>
              <a:r>
                <a:rPr lang="en-GB" sz="2000" b="1" dirty="0">
                  <a:solidFill>
                    <a:schemeClr val="bg1"/>
                  </a:solidFill>
                  <a:latin typeface="Georgia" panose="02040502050405020303" pitchFamily="18" charset="0"/>
                  <a:sym typeface="Montserrat"/>
                </a:rPr>
                <a:t>+0.5%</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22685" y="5751774"/>
              <a:ext cx="3835231" cy="3959274"/>
            </a:xfrm>
            <a:prstGeom prst="rect">
              <a:avLst/>
            </a:prstGeom>
            <a:noFill/>
          </p:spPr>
          <p:txBody>
            <a:bodyPr wrap="square">
              <a:spAutoFit/>
            </a:bodyPr>
            <a:lstStyle/>
            <a:p>
              <a:pPr algn="ctr"/>
              <a:r>
                <a:rPr lang="en-GB" sz="2400" b="1" dirty="0">
                  <a:solidFill>
                    <a:schemeClr val="bg1"/>
                  </a:solidFill>
                  <a:latin typeface="Georgia" panose="02040502050405020303" pitchFamily="18" charset="0"/>
                  <a:sym typeface="Montserrat"/>
                </a:rPr>
                <a:t>So far in 2023, </a:t>
              </a:r>
              <a:r>
                <a:rPr lang="en-GB" sz="2400" i="1" dirty="0">
                  <a:solidFill>
                    <a:schemeClr val="bg1"/>
                  </a:solidFill>
                  <a:latin typeface="Georgia" panose="02040502050405020303" pitchFamily="18" charset="0"/>
                  <a:sym typeface="Montserrat"/>
                </a:rPr>
                <a:t>OL</a:t>
              </a:r>
              <a:r>
                <a:rPr lang="en-GB" sz="2400" b="1" dirty="0">
                  <a:solidFill>
                    <a:schemeClr val="bg1"/>
                  </a:solidFill>
                  <a:latin typeface="Georgia" panose="02040502050405020303" pitchFamily="18" charset="0"/>
                  <a:sym typeface="Montserrat"/>
                </a:rPr>
                <a:t> has </a:t>
              </a:r>
              <a:r>
                <a:rPr lang="en-GB" sz="2400" i="1" dirty="0">
                  <a:solidFill>
                    <a:schemeClr val="bg1"/>
                  </a:solidFill>
                  <a:latin typeface="Georgia" panose="02040502050405020303" pitchFamily="18" charset="0"/>
                  <a:sym typeface="Montserrat"/>
                </a:rPr>
                <a:t>outperformed brands </a:t>
              </a:r>
              <a:r>
                <a:rPr lang="en-GB" sz="2400" dirty="0">
                  <a:solidFill>
                    <a:schemeClr val="bg1"/>
                  </a:solidFill>
                  <a:latin typeface="Georgia" panose="02040502050405020303" pitchFamily="18" charset="0"/>
                  <a:sym typeface="Montserrat"/>
                </a:rPr>
                <a:t>across</a:t>
              </a:r>
              <a:r>
                <a:rPr lang="en-GB" sz="2400" b="1" dirty="0">
                  <a:solidFill>
                    <a:schemeClr val="bg1"/>
                  </a:solidFill>
                  <a:latin typeface="Georgia" panose="02040502050405020303" pitchFamily="18" charset="0"/>
                  <a:sym typeface="Montserrat"/>
                </a:rPr>
                <a:t> the </a:t>
              </a:r>
              <a:r>
                <a:rPr lang="en-GB" sz="2400" i="1" dirty="0">
                  <a:solidFill>
                    <a:schemeClr val="bg1"/>
                  </a:solidFill>
                  <a:latin typeface="Georgia" panose="02040502050405020303" pitchFamily="18" charset="0"/>
                  <a:sym typeface="Montserrat"/>
                </a:rPr>
                <a:t>assortment</a:t>
              </a:r>
              <a:r>
                <a:rPr lang="en-GB" sz="2400" b="1" dirty="0">
                  <a:solidFill>
                    <a:schemeClr val="bg1"/>
                  </a:solidFill>
                  <a:latin typeface="Georgia" panose="02040502050405020303" pitchFamily="18" charset="0"/>
                  <a:sym typeface="Montserrat"/>
                </a:rPr>
                <a:t> and is </a:t>
              </a:r>
              <a:r>
                <a:rPr lang="en-GB" sz="2400" i="1" dirty="0">
                  <a:solidFill>
                    <a:schemeClr val="bg1"/>
                  </a:solidFill>
                  <a:latin typeface="Georgia" panose="02040502050405020303" pitchFamily="18" charset="0"/>
                  <a:sym typeface="Montserrat"/>
                </a:rPr>
                <a:t>growing faster </a:t>
              </a:r>
              <a:r>
                <a:rPr lang="en-GB" sz="2400" b="1" dirty="0">
                  <a:solidFill>
                    <a:schemeClr val="bg1"/>
                  </a:solidFill>
                  <a:latin typeface="Georgia" panose="02040502050405020303" pitchFamily="18" charset="0"/>
                  <a:sym typeface="Montserrat"/>
                </a:rPr>
                <a:t>in </a:t>
              </a:r>
              <a:r>
                <a:rPr lang="en-GB" sz="2400" i="1" dirty="0">
                  <a:solidFill>
                    <a:schemeClr val="bg1"/>
                  </a:solidFill>
                  <a:latin typeface="Georgia" panose="02040502050405020303" pitchFamily="18" charset="0"/>
                  <a:sym typeface="Montserrat"/>
                </a:rPr>
                <a:t>H&amp;B</a:t>
              </a:r>
              <a:r>
                <a:rPr lang="en-GB" sz="2400" b="1" i="1" dirty="0">
                  <a:solidFill>
                    <a:schemeClr val="bg1"/>
                  </a:solidFill>
                  <a:latin typeface="Georgia" panose="02040502050405020303" pitchFamily="18" charset="0"/>
                  <a:sym typeface="Montserrat"/>
                </a:rPr>
                <a:t> </a:t>
              </a:r>
              <a:r>
                <a:rPr lang="en-GB" sz="2400" b="1" dirty="0">
                  <a:solidFill>
                    <a:schemeClr val="bg1"/>
                  </a:solidFill>
                  <a:latin typeface="Georgia" panose="02040502050405020303" pitchFamily="18" charset="0"/>
                  <a:sym typeface="Montserrat"/>
                </a:rPr>
                <a:t>and </a:t>
              </a:r>
              <a:r>
                <a:rPr lang="en-GB" sz="2400" i="1" dirty="0">
                  <a:solidFill>
                    <a:schemeClr val="bg1"/>
                  </a:solidFill>
                  <a:latin typeface="Georgia" panose="02040502050405020303" pitchFamily="18" charset="0"/>
                  <a:sym typeface="Montserrat"/>
                </a:rPr>
                <a:t>Confectionery</a:t>
              </a:r>
              <a:r>
                <a:rPr lang="en-GB" sz="2400" b="1" dirty="0">
                  <a:solidFill>
                    <a:schemeClr val="bg1"/>
                  </a:solidFill>
                  <a:latin typeface="Georgia" panose="02040502050405020303" pitchFamily="18" charset="0"/>
                  <a:sym typeface="Montserrat"/>
                </a:rPr>
                <a:t> where </a:t>
              </a:r>
              <a:r>
                <a:rPr lang="en-GB" sz="2400" i="1" dirty="0">
                  <a:solidFill>
                    <a:schemeClr val="bg1"/>
                  </a:solidFill>
                  <a:latin typeface="Georgia" panose="02040502050405020303" pitchFamily="18" charset="0"/>
                  <a:sym typeface="Montserrat"/>
                </a:rPr>
                <a:t>OL has most headroom to grow</a:t>
              </a:r>
              <a:r>
                <a:rPr lang="en-GB" sz="2400" b="1" i="1" dirty="0">
                  <a:solidFill>
                    <a:schemeClr val="bg1"/>
                  </a:solidFill>
                  <a:latin typeface="Georgia" panose="02040502050405020303" pitchFamily="18" charset="0"/>
                  <a:sym typeface="Montserrat"/>
                </a:rPr>
                <a:t>.</a:t>
              </a:r>
              <a:endParaRPr lang="en-GB" sz="2400" b="1" dirty="0">
                <a:solidFill>
                  <a:schemeClr val="bg1"/>
                </a:solidFill>
                <a:latin typeface="Georgia" panose="02040502050405020303" pitchFamily="18" charset="0"/>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968818"/>
            </a:xfrm>
            <a:prstGeom prst="rect">
              <a:avLst/>
            </a:prstGeom>
            <a:noFill/>
          </p:spPr>
          <p:txBody>
            <a:bodyPr wrap="square">
              <a:spAutoFit/>
            </a:bodyPr>
            <a:lstStyle/>
            <a:p>
              <a:pPr algn="ctr"/>
              <a:endParaRPr lang="en-GB" sz="32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8762037" y="2017727"/>
            <a:ext cx="1187120"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OL YTD Growth </a:t>
            </a:r>
          </a:p>
          <a:p>
            <a:pPr algn="r" defTabSz="1219170">
              <a:defRPr/>
            </a:pPr>
            <a:r>
              <a:rPr lang="en-GB" sz="1200" b="1" dirty="0">
                <a:solidFill>
                  <a:schemeClr val="tx1"/>
                </a:solidFill>
                <a:latin typeface="+mj-lt"/>
              </a:rPr>
              <a:t>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437389" y="2537139"/>
            <a:ext cx="0" cy="1709605"/>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382888" y="2438782"/>
            <a:ext cx="1506458" cy="215444"/>
          </a:xfrm>
          <a:prstGeom prst="rect">
            <a:avLst/>
          </a:prstGeom>
          <a:noFill/>
        </p:spPr>
        <p:txBody>
          <a:bodyPr wrap="square">
            <a:spAutoFit/>
          </a:bodyPr>
          <a:lstStyle/>
          <a:p>
            <a:pPr algn="ctr"/>
            <a:r>
              <a:rPr lang="en-GB" sz="800" i="1" kern="0" dirty="0">
                <a:solidFill>
                  <a:schemeClr val="bg1"/>
                </a:solidFill>
                <a:sym typeface="Montserrat"/>
              </a:rPr>
              <a:t>OL FMCG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276219" y="1222065"/>
            <a:ext cx="5563240"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i="1" dirty="0">
                <a:solidFill>
                  <a:schemeClr val="tx1"/>
                </a:solidFill>
                <a:latin typeface="Arial" panose="020B0604020202020204" pitchFamily="34" charset="0"/>
                <a:cs typeface="Arial" panose="020B0604020202020204" pitchFamily="34" charset="0"/>
              </a:rPr>
              <a:t>YTD 8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88FBD7EC-1F8F-E98C-E336-92E1A08E2F4E}"/>
              </a:ext>
            </a:extLst>
          </p:cNvPr>
          <p:cNvSpPr>
            <a:spLocks noGrp="1"/>
          </p:cNvSpPr>
          <p:nvPr>
            <p:ph type="body" sz="quarter" idx="14"/>
          </p:nvPr>
        </p:nvSpPr>
        <p:spPr/>
        <p:txBody>
          <a:bodyPr/>
          <a:lstStyle/>
          <a:p>
            <a:r>
              <a:rPr lang="en-US" dirty="0"/>
              <a:t>-29%</a:t>
            </a:r>
            <a:br>
              <a:rPr lang="en-US" dirty="0"/>
            </a:br>
            <a:r>
              <a:rPr lang="en-US" sz="1800" dirty="0"/>
              <a:t>Vine Tomatoes</a:t>
            </a:r>
          </a:p>
          <a:p>
            <a:endParaRPr lang="en-US" sz="1800" dirty="0"/>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2C6DF6"/>
                </a:solidFill>
                <a:effectLst/>
                <a:uLnTx/>
                <a:uFillTx/>
                <a:latin typeface="Arial" panose="020B0604020202020204"/>
                <a:ea typeface="+mn-ea"/>
                <a:cs typeface="+mn-cs"/>
              </a:rPr>
              <a:t>-16%</a:t>
            </a:r>
            <a:br>
              <a:rPr kumimoji="0" lang="en-US" sz="3200" b="1" i="0" u="none" strike="noStrike" kern="1200" cap="none" spc="0" normalizeH="0" baseline="0" noProof="0" dirty="0">
                <a:ln>
                  <a:noFill/>
                </a:ln>
                <a:solidFill>
                  <a:srgbClr val="2C6DF6"/>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2C6DF6"/>
                </a:solidFill>
                <a:effectLst/>
                <a:uLnTx/>
                <a:uFillTx/>
                <a:latin typeface="Arial" panose="020B0604020202020204"/>
                <a:ea typeface="+mn-ea"/>
                <a:cs typeface="+mn-cs"/>
              </a:rPr>
              <a:t>Cherry Tomatoes</a:t>
            </a:r>
            <a:endParaRPr lang="en-US" sz="1800" dirty="0"/>
          </a:p>
          <a:p>
            <a:endParaRPr lang="en-US" sz="1800" dirty="0"/>
          </a:p>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3200" b="1" i="0" u="none" strike="noStrike" kern="1200" cap="none" spc="0" normalizeH="0" baseline="0" noProof="0" dirty="0">
                <a:ln>
                  <a:noFill/>
                </a:ln>
                <a:solidFill>
                  <a:srgbClr val="2C6DF6"/>
                </a:solidFill>
                <a:effectLst/>
                <a:uLnTx/>
                <a:uFillTx/>
                <a:latin typeface="Arial" panose="020B0604020202020204"/>
                <a:ea typeface="+mn-ea"/>
                <a:cs typeface="+mn-cs"/>
              </a:rPr>
              <a:t>-11%</a:t>
            </a:r>
            <a:br>
              <a:rPr kumimoji="0" lang="en-US" sz="3200" b="1" i="0" u="none" strike="noStrike" kern="1200" cap="none" spc="0" normalizeH="0" baseline="0" noProof="0" dirty="0">
                <a:ln>
                  <a:noFill/>
                </a:ln>
                <a:solidFill>
                  <a:srgbClr val="2C6DF6"/>
                </a:solidFill>
                <a:effectLst/>
                <a:uLnTx/>
                <a:uFillTx/>
                <a:latin typeface="Arial" panose="020B0604020202020204"/>
                <a:ea typeface="+mn-ea"/>
                <a:cs typeface="+mn-cs"/>
              </a:rPr>
            </a:br>
            <a:r>
              <a:rPr kumimoji="0" lang="en-US" sz="1800" b="1" i="0" u="none" strike="noStrike" kern="1200" cap="none" spc="0" normalizeH="0" baseline="0" noProof="0" dirty="0">
                <a:ln>
                  <a:noFill/>
                </a:ln>
                <a:solidFill>
                  <a:srgbClr val="2C6DF6"/>
                </a:solidFill>
                <a:effectLst/>
                <a:uLnTx/>
                <a:uFillTx/>
                <a:latin typeface="Arial" panose="020B0604020202020204"/>
                <a:ea typeface="+mn-ea"/>
                <a:cs typeface="+mn-cs"/>
              </a:rPr>
              <a:t>Romaine Lettuce</a:t>
            </a:r>
          </a:p>
        </p:txBody>
      </p:sp>
      <p:sp>
        <p:nvSpPr>
          <p:cNvPr id="2" name="Title 1">
            <a:extLst>
              <a:ext uri="{FF2B5EF4-FFF2-40B4-BE49-F238E27FC236}">
                <a16:creationId xmlns:a16="http://schemas.microsoft.com/office/drawing/2014/main" id="{80AB41D5-90BF-44CC-2408-C902C1367116}"/>
              </a:ext>
            </a:extLst>
          </p:cNvPr>
          <p:cNvSpPr>
            <a:spLocks noGrp="1"/>
          </p:cNvSpPr>
          <p:nvPr>
            <p:ph type="title"/>
          </p:nvPr>
        </p:nvSpPr>
        <p:spPr>
          <a:xfrm>
            <a:off x="288558" y="178971"/>
            <a:ext cx="7625510" cy="397352"/>
          </a:xfrm>
        </p:spPr>
        <p:txBody>
          <a:bodyPr/>
          <a:lstStyle/>
          <a:p>
            <a:br>
              <a:rPr lang="en-US" dirty="0"/>
            </a:br>
            <a:r>
              <a:rPr lang="en-US" dirty="0"/>
              <a:t>Supply chain issues impacted some salad categories resulting in </a:t>
            </a:r>
            <a:r>
              <a:rPr lang="en-US" i="1" dirty="0">
                <a:latin typeface="Georgia" panose="02040502050405020303" pitchFamily="18" charset="0"/>
              </a:rPr>
              <a:t>out of stocks </a:t>
            </a:r>
            <a:r>
              <a:rPr lang="en-US" dirty="0"/>
              <a:t>and</a:t>
            </a:r>
            <a:r>
              <a:rPr lang="en-US" i="1" dirty="0">
                <a:latin typeface="Georgia" panose="02040502050405020303" pitchFamily="18" charset="0"/>
              </a:rPr>
              <a:t> rationing </a:t>
            </a:r>
            <a:r>
              <a:rPr lang="en-US" dirty="0"/>
              <a:t>for some shoppers</a:t>
            </a:r>
          </a:p>
        </p:txBody>
      </p:sp>
      <p:sp>
        <p:nvSpPr>
          <p:cNvPr id="21" name="Title 1">
            <a:extLst>
              <a:ext uri="{FF2B5EF4-FFF2-40B4-BE49-F238E27FC236}">
                <a16:creationId xmlns:a16="http://schemas.microsoft.com/office/drawing/2014/main" id="{F3A54EA4-365F-CCF2-5325-FAF5640A546B}"/>
              </a:ext>
            </a:extLst>
          </p:cNvPr>
          <p:cNvSpPr txBox="1">
            <a:spLocks/>
          </p:cNvSpPr>
          <p:nvPr/>
        </p:nvSpPr>
        <p:spPr>
          <a:xfrm>
            <a:off x="8385275" y="776614"/>
            <a:ext cx="3091415" cy="184800"/>
          </a:xfrm>
          <a:prstGeom prst="rect">
            <a:avLst/>
          </a:prstGeom>
          <a:noFill/>
          <a:ln>
            <a:noFill/>
          </a:ln>
        </p:spPr>
        <p:txBody>
          <a:bodyPr spcFirstLastPara="1" wrap="square" lIns="0" tIns="91425" rIns="0"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3000"/>
              <a:buFont typeface="Montserrat"/>
              <a:buNone/>
              <a:defRPr sz="3000" b="1" i="0" u="none" strike="noStrike" cap="none" baseline="0">
                <a:solidFill>
                  <a:srgbClr val="000000"/>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marR="0" lvl="1"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2pPr>
            <a:lvl3pPr marR="0" lvl="2"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3pPr>
            <a:lvl4pPr marR="0" lvl="3"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4pPr>
            <a:lvl5pPr marR="0" lvl="4"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5pPr>
            <a:lvl6pPr marR="0" lvl="5"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6pPr>
            <a:lvl7pPr marR="0" lvl="6"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7pPr>
            <a:lvl8pPr marR="0" lvl="7"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8pPr>
            <a:lvl9pPr marR="0" lvl="8" algn="ctr" rtl="0">
              <a:lnSpc>
                <a:spcPct val="100000"/>
              </a:lnSpc>
              <a:spcBef>
                <a:spcPts val="0"/>
              </a:spcBef>
              <a:spcAft>
                <a:spcPts val="0"/>
              </a:spcAft>
              <a:buClr>
                <a:srgbClr val="000000"/>
              </a:buClr>
              <a:buSzPts val="5200"/>
              <a:buFont typeface="Montserrat"/>
              <a:buNone/>
              <a:defRPr sz="5200" b="1" i="0" u="none" strike="noStrike" cap="none">
                <a:solidFill>
                  <a:srgbClr val="000000"/>
                </a:solidFill>
                <a:latin typeface="Montserrat"/>
                <a:ea typeface="Montserrat"/>
                <a:cs typeface="Montserrat"/>
                <a:sym typeface="Montserrat"/>
              </a:defRPr>
            </a:lvl9pPr>
          </a:lstStyle>
          <a:p>
            <a:pPr algn="ctr" defTabSz="685800"/>
            <a:r>
              <a:rPr lang="en-US" sz="1200" b="0" i="1" dirty="0">
                <a:solidFill>
                  <a:schemeClr val="tx1"/>
                </a:solidFill>
                <a:latin typeface="Arial" panose="020B0604020202020204" pitchFamily="34" charset="0"/>
                <a:ea typeface="+mn-ea"/>
                <a:cs typeface="Arial" panose="020B0604020202020204" pitchFamily="34" charset="0"/>
              </a:rPr>
              <a:t>% Chg Unit Growth vs YA</a:t>
            </a:r>
          </a:p>
        </p:txBody>
      </p:sp>
      <p:sp>
        <p:nvSpPr>
          <p:cNvPr id="5" name="Slide Number Placeholder 4">
            <a:extLst>
              <a:ext uri="{FF2B5EF4-FFF2-40B4-BE49-F238E27FC236}">
                <a16:creationId xmlns:a16="http://schemas.microsoft.com/office/drawing/2014/main" id="{494A2634-B656-A104-74F4-494575849FF3}"/>
              </a:ext>
            </a:extLst>
          </p:cNvPr>
          <p:cNvSpPr>
            <a:spLocks noGrp="1"/>
          </p:cNvSpPr>
          <p:nvPr>
            <p:ph type="sldNum" sz="quarter" idx="12"/>
          </p:nvPr>
        </p:nvSpPr>
        <p:spPr/>
        <p:txBody>
          <a:bodyPr/>
          <a:lstStyle/>
          <a:p>
            <a:fld id="{403EF4E2-7A7A-0548-85F1-5479B7C9E1B2}" type="slidenum">
              <a:rPr lang="en-US" smtClean="0"/>
              <a:t>18</a:t>
            </a:fld>
            <a:endParaRPr lang="en-US" dirty="0"/>
          </a:p>
        </p:txBody>
      </p:sp>
      <p:graphicFrame>
        <p:nvGraphicFramePr>
          <p:cNvPr id="9" name="Chart Placeholder 6">
            <a:extLst>
              <a:ext uri="{FF2B5EF4-FFF2-40B4-BE49-F238E27FC236}">
                <a16:creationId xmlns:a16="http://schemas.microsoft.com/office/drawing/2014/main" id="{6E779404-A3C4-889A-B0E3-650969CE806D}"/>
              </a:ext>
            </a:extLst>
          </p:cNvPr>
          <p:cNvGraphicFramePr>
            <a:graphicFrameLocks/>
          </p:cNvGraphicFramePr>
          <p:nvPr>
            <p:extLst>
              <p:ext uri="{D42A27DB-BD31-4B8C-83A1-F6EECF244321}">
                <p14:modId xmlns:p14="http://schemas.microsoft.com/office/powerpoint/2010/main" val="2020092129"/>
              </p:ext>
            </p:extLst>
          </p:nvPr>
        </p:nvGraphicFramePr>
        <p:xfrm>
          <a:off x="440959" y="1964267"/>
          <a:ext cx="5090517" cy="344486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64EBE3A9-81E9-99C2-6EC6-50CBEFC72382}"/>
              </a:ext>
            </a:extLst>
          </p:cNvPr>
          <p:cNvSpPr txBox="1"/>
          <p:nvPr/>
        </p:nvSpPr>
        <p:spPr>
          <a:xfrm>
            <a:off x="310703" y="1251277"/>
            <a:ext cx="6094926" cy="584775"/>
          </a:xfrm>
          <a:prstGeom prst="rect">
            <a:avLst/>
          </a:prstGeom>
          <a:noFill/>
        </p:spPr>
        <p:txBody>
          <a:bodyPr wrap="square">
            <a:spAutoFit/>
          </a:bodyPr>
          <a:lstStyle/>
          <a:p>
            <a:r>
              <a:rPr lang="en-GB" sz="1800" b="1" dirty="0"/>
              <a:t>Grocery Multiples</a:t>
            </a:r>
            <a:endParaRPr lang="tr-TR" sz="1800" b="1" dirty="0"/>
          </a:p>
          <a:p>
            <a:r>
              <a:rPr lang="en-GB" sz="1400" i="1" dirty="0"/>
              <a:t>4 weekly growth vs year ago</a:t>
            </a:r>
            <a:endParaRPr lang="tr-TR" sz="1400" i="1" dirty="0"/>
          </a:p>
        </p:txBody>
      </p:sp>
      <p:sp>
        <p:nvSpPr>
          <p:cNvPr id="13" name="Text Placeholder 12">
            <a:extLst>
              <a:ext uri="{FF2B5EF4-FFF2-40B4-BE49-F238E27FC236}">
                <a16:creationId xmlns:a16="http://schemas.microsoft.com/office/drawing/2014/main" id="{25CAA1A6-6708-F7AF-84DD-D801A5749705}"/>
              </a:ext>
            </a:extLst>
          </p:cNvPr>
          <p:cNvSpPr>
            <a:spLocks noGrp="1"/>
          </p:cNvSpPr>
          <p:nvPr>
            <p:ph type="body" sz="quarter" idx="17"/>
          </p:nvPr>
        </p:nvSpPr>
        <p:spPr/>
        <p:txBody>
          <a:bodyPr/>
          <a:lstStyle/>
          <a:p>
            <a:r>
              <a:rPr lang="en-GB" dirty="0"/>
              <a:t>Source:  NielsenIQ Scantrack Grocery Multiples, 4w/e 25</a:t>
            </a:r>
            <a:r>
              <a:rPr lang="en-GB" baseline="30000" dirty="0"/>
              <a:t>th</a:t>
            </a:r>
            <a:r>
              <a:rPr lang="en-GB" dirty="0"/>
              <a:t> February 2023</a:t>
            </a:r>
          </a:p>
          <a:p>
            <a:endParaRPr lang="en-GB" dirty="0"/>
          </a:p>
        </p:txBody>
      </p:sp>
    </p:spTree>
    <p:extLst>
      <p:ext uri="{BB962C8B-B14F-4D97-AF65-F5344CB8AC3E}">
        <p14:creationId xmlns:p14="http://schemas.microsoft.com/office/powerpoint/2010/main" val="21849444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7"/>
          </p:nvPr>
        </p:nvSpPr>
        <p:spPr/>
        <p:txBody>
          <a:bodyPr/>
          <a:lstStyle/>
          <a:p>
            <a:r>
              <a:rPr lang="en-GB" dirty="0"/>
              <a:t>* TSR Excludes General Merchandise &amp; Tobacco</a:t>
            </a:r>
          </a:p>
          <a:p>
            <a:r>
              <a:rPr lang="en-GB" dirty="0"/>
              <a:t>Source:  NielsenIQ Scantrack Grocery Multiples, 4w/e 25</a:t>
            </a:r>
            <a:r>
              <a:rPr lang="en-GB" baseline="30000" dirty="0"/>
              <a:t>th</a:t>
            </a:r>
            <a:r>
              <a:rPr lang="en-GB" dirty="0"/>
              <a:t> February 2023</a:t>
            </a:r>
          </a:p>
          <a:p>
            <a:r>
              <a:rPr lang="en-GB"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301437" y="262684"/>
            <a:ext cx="11582400" cy="397352"/>
          </a:xfrm>
        </p:spPr>
        <p:txBody>
          <a:bodyPr/>
          <a:lstStyle/>
          <a:p>
            <a:r>
              <a:rPr lang="en-GB" dirty="0"/>
              <a:t>Shoppers are having to pay more for their </a:t>
            </a:r>
            <a:r>
              <a:rPr lang="en-GB" b="0" i="1" dirty="0">
                <a:latin typeface="Georgia" panose="02040502050405020303" pitchFamily="18" charset="0"/>
              </a:rPr>
              <a:t>key essentials</a:t>
            </a:r>
            <a:r>
              <a:rPr lang="en-GB" b="0" dirty="0"/>
              <a:t>, </a:t>
            </a:r>
            <a:r>
              <a:rPr lang="en-GB" b="0" i="1" dirty="0">
                <a:latin typeface="Georgia" panose="02040502050405020303" pitchFamily="18" charset="0"/>
              </a:rPr>
              <a:t>core groceries</a:t>
            </a:r>
            <a:r>
              <a:rPr lang="en-GB" b="0" dirty="0"/>
              <a:t>, </a:t>
            </a:r>
            <a:r>
              <a:rPr lang="en-GB" b="0" i="1" dirty="0">
                <a:latin typeface="Georgia" panose="02040502050405020303" pitchFamily="18" charset="0"/>
              </a:rPr>
              <a:t>treats &amp; snacks </a:t>
            </a:r>
            <a:r>
              <a:rPr lang="en-GB" dirty="0"/>
              <a:t>and</a:t>
            </a:r>
            <a:r>
              <a:rPr lang="en-GB" b="0" dirty="0"/>
              <a:t> </a:t>
            </a:r>
            <a:r>
              <a:rPr lang="en-GB" b="0" i="1" dirty="0">
                <a:latin typeface="Georgia" panose="02040502050405020303" pitchFamily="18" charset="0"/>
              </a:rPr>
              <a:t>non essentials </a:t>
            </a:r>
            <a:r>
              <a:rPr lang="en-GB" b="0" dirty="0"/>
              <a:t>… </a:t>
            </a:r>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3013180470"/>
              </p:ext>
            </p:extLst>
          </p:nvPr>
        </p:nvGraphicFramePr>
        <p:xfrm>
          <a:off x="288559" y="181186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288558" y="1410664"/>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Tree>
    <p:extLst>
      <p:ext uri="{BB962C8B-B14F-4D97-AF65-F5344CB8AC3E}">
        <p14:creationId xmlns:p14="http://schemas.microsoft.com/office/powerpoint/2010/main" val="2468928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25</a:t>
            </a:r>
            <a:r>
              <a:rPr lang="en-US" baseline="30000" dirty="0"/>
              <a:t>th</a:t>
            </a:r>
            <a:r>
              <a:rPr lang="en-US" dirty="0"/>
              <a:t> February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Total Till growths accelerated and inflation has yet to peak</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218770" y="1930953"/>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Discounter growth reached a 10 year high</a:t>
            </a:r>
            <a:endParaRPr lang="en-US"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18770" y="3062801"/>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Average basket size continues to get smaller</a:t>
            </a:r>
            <a:endParaRPr lang="en-US"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18770" y="4194649"/>
            <a:ext cx="6668429" cy="624840"/>
          </a:xfrm>
          <a:prstGeom prst="rect">
            <a:avLst/>
          </a:prstGeom>
          <a:noFill/>
        </p:spPr>
        <p:txBody>
          <a:bodyPr wrap="square" lIns="0" rIns="0" rtlCol="0" anchor="ctr">
            <a:noAutofit/>
          </a:bodyPr>
          <a:lstStyle/>
          <a:p>
            <a:pPr algn="l">
              <a:spcAft>
                <a:spcPts val="600"/>
              </a:spcAft>
            </a:pPr>
            <a:r>
              <a:rPr lang="en-US" sz="1800" dirty="0">
                <a:solidFill>
                  <a:schemeClr val="tx1"/>
                </a:solidFill>
                <a:latin typeface="Georgia" panose="02040502050405020303" pitchFamily="18" charset="0"/>
              </a:rPr>
              <a:t>Shoppers did trade up for Valentine’s Day</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18770" y="5326498"/>
            <a:ext cx="6668429" cy="624840"/>
          </a:xfrm>
          <a:prstGeom prst="rect">
            <a:avLst/>
          </a:prstGeom>
          <a:noFill/>
        </p:spPr>
        <p:txBody>
          <a:bodyPr wrap="square" lIns="0" rIns="0" rtlCol="0" anchor="ctr">
            <a:noAutofit/>
          </a:bodyPr>
          <a:lstStyle/>
          <a:p>
            <a:r>
              <a:rPr lang="en-US" sz="1800" dirty="0">
                <a:solidFill>
                  <a:schemeClr val="tx1"/>
                </a:solidFill>
                <a:latin typeface="Georgia" panose="02040502050405020303" pitchFamily="18" charset="0"/>
              </a:rPr>
              <a:t>Retailers will need to encourage more visits to drive overall spend</a:t>
            </a: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18112168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67984" y="2115333"/>
            <a:ext cx="7296478" cy="2554545"/>
          </a:xfrm>
          <a:prstGeom prst="rect">
            <a:avLst/>
          </a:prstGeom>
          <a:noFill/>
        </p:spPr>
        <p:txBody>
          <a:bodyPr wrap="square">
            <a:spAutoFit/>
          </a:bodyPr>
          <a:lstStyle/>
          <a:p>
            <a:pPr algn="l">
              <a:spcAft>
                <a:spcPts val="600"/>
              </a:spcAft>
            </a:pPr>
            <a:r>
              <a:rPr lang="en-US" sz="4000" dirty="0">
                <a:solidFill>
                  <a:schemeClr val="tx1"/>
                </a:solidFill>
                <a:latin typeface="Georgia" panose="02040502050405020303" pitchFamily="18" charset="0"/>
              </a:rPr>
              <a:t>With shoppers typically buying just 10.5 items per visit they are </a:t>
            </a:r>
            <a:r>
              <a:rPr lang="en-US" sz="4000" i="1" dirty="0">
                <a:solidFill>
                  <a:schemeClr val="accent1"/>
                </a:solidFill>
                <a:latin typeface="Georgia" panose="02040502050405020303" pitchFamily="18" charset="0"/>
              </a:rPr>
              <a:t>focussing more on what they need … </a:t>
            </a:r>
          </a:p>
        </p:txBody>
      </p:sp>
    </p:spTree>
    <p:extLst>
      <p:ext uri="{BB962C8B-B14F-4D97-AF65-F5344CB8AC3E}">
        <p14:creationId xmlns:p14="http://schemas.microsoft.com/office/powerpoint/2010/main" val="188466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7"/>
          </p:nvPr>
        </p:nvSpPr>
        <p:spPr/>
        <p:txBody>
          <a:bodyPr/>
          <a:lstStyle/>
          <a:p>
            <a:r>
              <a:rPr lang="en-GB" dirty="0"/>
              <a:t>Source:  Nielse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p:txBody>
          <a:bodyPr/>
          <a:lstStyle/>
          <a:p>
            <a:r>
              <a:rPr lang="en-GB" dirty="0"/>
              <a:t>Demand for </a:t>
            </a:r>
            <a:r>
              <a:rPr lang="en-GB" b="0" i="1" dirty="0">
                <a:latin typeface="Georgia" panose="02040502050405020303" pitchFamily="18" charset="0"/>
              </a:rPr>
              <a:t>smaller</a:t>
            </a:r>
            <a:r>
              <a:rPr lang="en-GB" dirty="0"/>
              <a:t> baskets, is benefiting </a:t>
            </a:r>
            <a:r>
              <a:rPr lang="en-GB" b="0" i="1" dirty="0">
                <a:latin typeface="Georgia" panose="02040502050405020303" pitchFamily="18" charset="0"/>
              </a:rPr>
              <a:t>‘stores’ </a:t>
            </a:r>
            <a:r>
              <a:rPr lang="en-GB" dirty="0"/>
              <a:t>and the </a:t>
            </a:r>
            <a:r>
              <a:rPr lang="en-GB" b="0" i="1" dirty="0">
                <a:latin typeface="Georgia" panose="02040502050405020303" pitchFamily="18" charset="0"/>
              </a:rPr>
              <a:t>Discounters</a:t>
            </a:r>
            <a:r>
              <a:rPr lang="en-GB" dirty="0"/>
              <a:t> had a stand-out performance, whilst demand for health products stimulated sales at </a:t>
            </a:r>
            <a:r>
              <a:rPr lang="en-GB" b="0" i="1" dirty="0">
                <a:latin typeface="Georgia" panose="02040502050405020303" pitchFamily="18" charset="0"/>
              </a:rPr>
              <a:t>Chemists</a:t>
            </a: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2805284443"/>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5th February 2023 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7"/>
          </p:nvPr>
        </p:nvSpPr>
        <p:spPr/>
        <p:txBody>
          <a:bodyPr/>
          <a:lstStyle/>
          <a:p>
            <a:r>
              <a:rPr lang="en-GB" dirty="0"/>
              <a:t>Source:  Nielse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p:txBody>
          <a:bodyPr/>
          <a:lstStyle/>
          <a:p>
            <a:r>
              <a:rPr lang="en-GB" b="0" i="1" dirty="0">
                <a:latin typeface="Georgia" panose="02040502050405020303" pitchFamily="18" charset="0"/>
              </a:rPr>
              <a:t>All channels </a:t>
            </a:r>
            <a:r>
              <a:rPr lang="en-GB" dirty="0"/>
              <a:t>benefited from </a:t>
            </a:r>
            <a:r>
              <a:rPr lang="en-GB" b="0" i="1" dirty="0">
                <a:latin typeface="Georgia" panose="02040502050405020303" pitchFamily="18" charset="0"/>
              </a:rPr>
              <a:t>more spend </a:t>
            </a:r>
            <a:r>
              <a:rPr lang="en-GB" dirty="0"/>
              <a:t>in February, in particular the </a:t>
            </a:r>
            <a:r>
              <a:rPr lang="en-GB" b="0" i="1" dirty="0">
                <a:latin typeface="Georgia" panose="02040502050405020303" pitchFamily="18" charset="0"/>
              </a:rPr>
              <a:t>Convenience stores</a:t>
            </a:r>
            <a:r>
              <a:rPr lang="en-GB" dirty="0"/>
              <a:t>, even </a:t>
            </a:r>
            <a:r>
              <a:rPr lang="en-GB" b="0" i="1" dirty="0"/>
              <a:t>Online</a:t>
            </a:r>
            <a:r>
              <a:rPr lang="en-GB" dirty="0"/>
              <a:t> had stronger sales than January</a:t>
            </a: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25th February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675169747"/>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Tree>
    <p:extLst>
      <p:ext uri="{BB962C8B-B14F-4D97-AF65-F5344CB8AC3E}">
        <p14:creationId xmlns:p14="http://schemas.microsoft.com/office/powerpoint/2010/main" val="2591988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7"/>
          </p:nvPr>
        </p:nvSpPr>
        <p:spPr/>
        <p:txBody>
          <a:bodyPr/>
          <a:lstStyle/>
          <a:p>
            <a:r>
              <a:rPr lang="en-GB" dirty="0"/>
              <a:t>Source:  Nielse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p:txBody>
          <a:bodyPr/>
          <a:lstStyle/>
          <a:p>
            <a:r>
              <a:rPr lang="en-GB" i="1" dirty="0">
                <a:latin typeface="Georgia" panose="02040502050405020303" pitchFamily="18" charset="0"/>
              </a:rPr>
              <a:t>Double digit food inflation </a:t>
            </a:r>
            <a:r>
              <a:rPr lang="en-GB" b="0" dirty="0"/>
              <a:t>has </a:t>
            </a:r>
            <a:r>
              <a:rPr lang="en-GB" i="1" dirty="0">
                <a:latin typeface="Georgia" panose="02040502050405020303" pitchFamily="18" charset="0"/>
              </a:rPr>
              <a:t>driven growth </a:t>
            </a:r>
            <a:r>
              <a:rPr lang="en-GB" b="0" dirty="0"/>
              <a:t>in </a:t>
            </a:r>
            <a:r>
              <a:rPr lang="en-GB" i="1" dirty="0">
                <a:latin typeface="Georgia" panose="02040502050405020303" pitchFamily="18" charset="0"/>
              </a:rPr>
              <a:t>2023</a:t>
            </a:r>
            <a:r>
              <a:rPr lang="en-GB" b="0" dirty="0"/>
              <a:t>, this time last year food inflation~ was just 2.7%, with the exception of the Discounters, growth in the other channels is more subdued</a:t>
            </a:r>
            <a:endParaRPr lang="en-GB" dirty="0"/>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8w/e 25th February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979609414"/>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791718" y="6265572"/>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BRC-NIQ Food Shop Price Index, Feb23 (+14.5%)</a:t>
            </a:r>
          </a:p>
        </p:txBody>
      </p:sp>
    </p:spTree>
    <p:extLst>
      <p:ext uri="{BB962C8B-B14F-4D97-AF65-F5344CB8AC3E}">
        <p14:creationId xmlns:p14="http://schemas.microsoft.com/office/powerpoint/2010/main" val="35704491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7"/>
          </p:nvPr>
        </p:nvSpPr>
        <p:spPr/>
        <p:txBody>
          <a:bodyPr/>
          <a:lstStyle/>
          <a:p>
            <a:r>
              <a:rPr lang="en-GB" dirty="0"/>
              <a:t>Source:  Nielse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p:txBody>
          <a:bodyPr/>
          <a:lstStyle/>
          <a:p>
            <a:r>
              <a:rPr lang="en-GB" dirty="0"/>
              <a:t>The </a:t>
            </a:r>
            <a:r>
              <a:rPr lang="en-GB" b="0" i="1" dirty="0">
                <a:latin typeface="Georgia" panose="02040502050405020303" pitchFamily="18" charset="0"/>
              </a:rPr>
              <a:t>decline</a:t>
            </a:r>
            <a:r>
              <a:rPr lang="en-GB" dirty="0"/>
              <a:t> in Online sales is edging </a:t>
            </a:r>
            <a:r>
              <a:rPr lang="en-GB" b="0" i="1" dirty="0">
                <a:latin typeface="Georgia" panose="02040502050405020303" pitchFamily="18" charset="0"/>
              </a:rPr>
              <a:t>closer to zero</a:t>
            </a:r>
            <a:r>
              <a:rPr lang="en-GB" dirty="0"/>
              <a:t>, so despite the swing towards smaller basket sizes the online channel continues to </a:t>
            </a:r>
            <a:r>
              <a:rPr lang="en-GB" b="0" i="1" dirty="0">
                <a:latin typeface="Georgia" panose="02040502050405020303" pitchFamily="18" charset="0"/>
              </a:rPr>
              <a:t>maintain</a:t>
            </a:r>
            <a:r>
              <a:rPr lang="en-GB" dirty="0"/>
              <a:t> share at around </a:t>
            </a:r>
            <a:r>
              <a:rPr lang="en-GB" b="0" i="1" dirty="0">
                <a:latin typeface="Georgia" panose="02040502050405020303" pitchFamily="18" charset="0"/>
              </a:rPr>
              <a:t>11%</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1977008341"/>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98407" y="2341457"/>
            <a:ext cx="3503952" cy="2390972"/>
          </a:xfrm>
        </p:spPr>
        <p:txBody>
          <a:bodyPr/>
          <a:lstStyle/>
          <a:p>
            <a:r>
              <a:rPr lang="en-US" sz="2400" b="0" dirty="0">
                <a:latin typeface="Georgia" panose="02040502050405020303" pitchFamily="18" charset="0"/>
                <a:cs typeface="Arial"/>
              </a:rPr>
              <a:t>To help mitigate </a:t>
            </a:r>
            <a:r>
              <a:rPr lang="en-US" sz="2400" b="0" i="1" dirty="0">
                <a:latin typeface="Georgia" panose="02040502050405020303" pitchFamily="18" charset="0"/>
                <a:cs typeface="Arial"/>
              </a:rPr>
              <a:t>smaller orders</a:t>
            </a:r>
            <a:r>
              <a:rPr lang="en-US" sz="2400" b="0" dirty="0">
                <a:latin typeface="Georgia" panose="02040502050405020303" pitchFamily="18" charset="0"/>
                <a:cs typeface="Arial"/>
              </a:rPr>
              <a:t>, online retailers will need to attract </a:t>
            </a:r>
            <a:r>
              <a:rPr lang="en-US" sz="2400" i="1" dirty="0">
                <a:latin typeface="Georgia" panose="02040502050405020303" pitchFamily="18" charset="0"/>
                <a:cs typeface="Arial"/>
              </a:rPr>
              <a:t>more </a:t>
            </a:r>
            <a:r>
              <a:rPr lang="en-US" sz="2400" b="0" i="1" dirty="0">
                <a:latin typeface="Georgia" panose="02040502050405020303" pitchFamily="18" charset="0"/>
                <a:cs typeface="Arial"/>
              </a:rPr>
              <a:t>shoppers</a:t>
            </a:r>
            <a:r>
              <a:rPr lang="en-US" sz="2400" b="0" dirty="0">
                <a:latin typeface="Georgia" panose="02040502050405020303" pitchFamily="18" charset="0"/>
                <a:cs typeface="Arial"/>
              </a:rPr>
              <a:t> as well as encourage </a:t>
            </a:r>
            <a:r>
              <a:rPr lang="en-US" sz="2400" b="0" i="1" dirty="0">
                <a:latin typeface="Georgia" panose="02040502050405020303" pitchFamily="18" charset="0"/>
                <a:cs typeface="Arial"/>
              </a:rPr>
              <a:t>existing shoppers</a:t>
            </a:r>
            <a:r>
              <a:rPr lang="en-US" sz="2400" b="0" dirty="0">
                <a:latin typeface="Georgia" panose="02040502050405020303" pitchFamily="18" charset="0"/>
                <a:cs typeface="Arial"/>
              </a:rPr>
              <a:t> to shop </a:t>
            </a:r>
            <a:r>
              <a:rPr lang="en-US" sz="2400" i="1" dirty="0">
                <a:latin typeface="Georgia" panose="02040502050405020303" pitchFamily="18" charset="0"/>
                <a:cs typeface="Arial"/>
              </a:rPr>
              <a:t>more often</a:t>
            </a:r>
            <a:r>
              <a:rPr lang="en-US" sz="2400" b="0" dirty="0">
                <a:latin typeface="Georgia" panose="02040502050405020303" pitchFamily="18" charset="0"/>
                <a:cs typeface="Arial"/>
              </a:rPr>
              <a:t>.</a:t>
            </a:r>
            <a:endParaRPr lang="en-US"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else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132701248"/>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6600" b="0" dirty="0">
                <a:latin typeface="Georgia" panose="02040502050405020303" pitchFamily="18" charset="0"/>
              </a:rPr>
              <a:t>+£786m</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748m</a:t>
            </a:r>
            <a:br>
              <a:rPr lang="en-US" sz="6000" dirty="0"/>
            </a:br>
            <a:r>
              <a:rPr lang="en-US" sz="1200" dirty="0"/>
              <a:t>spent </a:t>
            </a:r>
            <a:r>
              <a:rPr lang="en-US" sz="1200" b="0" i="1" dirty="0">
                <a:latin typeface="Georgia" panose="02040502050405020303" pitchFamily="18" charset="0"/>
              </a:rPr>
              <a:t>more</a:t>
            </a:r>
            <a:r>
              <a:rPr lang="en-US" sz="1200" dirty="0"/>
              <a:t> on groceries than </a:t>
            </a:r>
            <a:r>
              <a:rPr lang="en-US" sz="1200" b="0" i="1" dirty="0">
                <a:latin typeface="Georgia" panose="02040502050405020303" pitchFamily="18" charset="0"/>
              </a:rPr>
              <a:t>prior period </a:t>
            </a:r>
            <a:r>
              <a:rPr lang="en-US" sz="1200" dirty="0"/>
              <a:t>(4w/e 28Jan23)</a:t>
            </a:r>
          </a:p>
          <a:p>
            <a:endParaRPr lang="en-US" dirty="0"/>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else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43482" y="1670094"/>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a:t>
            </a:r>
          </a:p>
        </p:txBody>
      </p:sp>
      <p:sp>
        <p:nvSpPr>
          <p:cNvPr id="10" name="TextBox 9">
            <a:extLst>
              <a:ext uri="{FF2B5EF4-FFF2-40B4-BE49-F238E27FC236}">
                <a16:creationId xmlns:a16="http://schemas.microsoft.com/office/drawing/2014/main" id="{C3D2443E-B358-BA70-BC17-D522DD8E27B6}"/>
              </a:ext>
            </a:extLst>
          </p:cNvPr>
          <p:cNvSpPr txBox="1"/>
          <p:nvPr/>
        </p:nvSpPr>
        <p:spPr>
          <a:xfrm>
            <a:off x="288558" y="4044680"/>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3431417760"/>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2442484305"/>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288557" y="178971"/>
            <a:ext cx="6189516" cy="397352"/>
          </a:xfrm>
        </p:spPr>
        <p:txBody>
          <a:bodyPr/>
          <a:lstStyle/>
          <a:p>
            <a:r>
              <a:rPr lang="en-GB" b="0" i="1" dirty="0">
                <a:latin typeface="Georgia" panose="02040502050405020303" pitchFamily="18" charset="0"/>
              </a:rPr>
              <a:t>Convenience Stores </a:t>
            </a:r>
            <a:r>
              <a:rPr lang="en-GB" dirty="0"/>
              <a:t>are benefiting from the trend towards smaller and more frequent shopping trips</a:t>
            </a:r>
          </a:p>
        </p:txBody>
      </p:sp>
    </p:spTree>
    <p:extLst>
      <p:ext uri="{BB962C8B-B14F-4D97-AF65-F5344CB8AC3E}">
        <p14:creationId xmlns:p14="http://schemas.microsoft.com/office/powerpoint/2010/main" val="2178739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0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82119" y="3783891"/>
            <a:ext cx="3503952" cy="2390972"/>
          </a:xfrm>
        </p:spPr>
        <p:txBody>
          <a:bodyPr/>
          <a:lstStyle/>
          <a:p>
            <a:r>
              <a:rPr lang="en-US" sz="2400" b="0" dirty="0">
                <a:latin typeface="Georgia" panose="02040502050405020303" pitchFamily="18" charset="0"/>
                <a:cs typeface="Arial"/>
              </a:rPr>
              <a:t>Faced with continuous </a:t>
            </a:r>
            <a:r>
              <a:rPr lang="en-US" sz="2400" i="1" dirty="0">
                <a:latin typeface="Georgia" panose="02040502050405020303" pitchFamily="18" charset="0"/>
                <a:cs typeface="Arial"/>
              </a:rPr>
              <a:t>rising</a:t>
            </a:r>
            <a:r>
              <a:rPr lang="en-US" sz="2400" b="0" dirty="0">
                <a:latin typeface="Georgia" panose="02040502050405020303" pitchFamily="18" charset="0"/>
                <a:cs typeface="Arial"/>
              </a:rPr>
              <a:t> energy, fuel, food and housing </a:t>
            </a:r>
            <a:r>
              <a:rPr lang="en-US" sz="2400" i="1" dirty="0">
                <a:latin typeface="Georgia" panose="02040502050405020303" pitchFamily="18" charset="0"/>
                <a:cs typeface="Arial"/>
              </a:rPr>
              <a:t>costs</a:t>
            </a:r>
            <a:r>
              <a:rPr lang="en-US" sz="2400" b="0" dirty="0">
                <a:latin typeface="Georgia" panose="02040502050405020303" pitchFamily="18" charset="0"/>
                <a:cs typeface="Arial"/>
              </a:rPr>
              <a:t> shoppers are returning to </a:t>
            </a:r>
            <a:r>
              <a:rPr lang="en-US" sz="2400" i="1" dirty="0">
                <a:latin typeface="Georgia" panose="02040502050405020303" pitchFamily="18" charset="0"/>
                <a:cs typeface="Arial"/>
              </a:rPr>
              <a:t>affordable treats </a:t>
            </a:r>
            <a:r>
              <a:rPr lang="en-US" sz="2400" b="0" dirty="0">
                <a:latin typeface="Georgia" panose="02040502050405020303" pitchFamily="18" charset="0"/>
                <a:cs typeface="Arial"/>
              </a:rPr>
              <a:t>and alcohol.</a:t>
            </a:r>
            <a:br>
              <a:rPr lang="en-US" sz="2400" b="0" dirty="0">
                <a:latin typeface="Georgia" panose="02040502050405020303" pitchFamily="18" charset="0"/>
                <a:cs typeface="Arial"/>
              </a:rPr>
            </a:br>
            <a:br>
              <a:rPr lang="en-US" sz="2400" b="0" dirty="0">
                <a:latin typeface="Georgia" panose="02040502050405020303" pitchFamily="18" charset="0"/>
                <a:cs typeface="Arial"/>
              </a:rPr>
            </a:br>
            <a:r>
              <a:rPr lang="en-US" sz="1600" b="0" dirty="0">
                <a:latin typeface="Georgia" panose="02040502050405020303" pitchFamily="18" charset="0"/>
                <a:cs typeface="Arial"/>
              </a:rPr>
              <a:t>Shoppers also spent more on loved ones celebrating </a:t>
            </a:r>
            <a:r>
              <a:rPr lang="en-US" sz="1600" i="1" dirty="0">
                <a:latin typeface="Georgia" panose="02040502050405020303" pitchFamily="18" charset="0"/>
                <a:cs typeface="Arial"/>
              </a:rPr>
              <a:t>Valentine’s</a:t>
            </a:r>
            <a:r>
              <a:rPr lang="en-US" sz="1600" b="0" dirty="0">
                <a:latin typeface="Georgia" panose="02040502050405020303" pitchFamily="18" charset="0"/>
                <a:cs typeface="Arial"/>
              </a:rPr>
              <a:t> (Gal/Pal) Day.</a:t>
            </a:r>
            <a:br>
              <a:rPr lang="en-US" sz="1600" b="0" dirty="0">
                <a:latin typeface="Georgia" panose="02040502050405020303" pitchFamily="18" charset="0"/>
                <a:cs typeface="Arial"/>
              </a:rPr>
            </a:br>
            <a:br>
              <a:rPr lang="en-US" sz="1600" b="0" dirty="0">
                <a:latin typeface="Georgia" panose="02040502050405020303" pitchFamily="18" charset="0"/>
                <a:cs typeface="Arial"/>
              </a:rPr>
            </a:br>
            <a:r>
              <a:rPr lang="en-US" sz="1600" i="1" dirty="0">
                <a:latin typeface="Georgia" panose="02040502050405020303" pitchFamily="18" charset="0"/>
                <a:cs typeface="Arial"/>
              </a:rPr>
              <a:t>Tobacco &amp; Smoking </a:t>
            </a:r>
            <a:r>
              <a:rPr lang="en-US" sz="1600" b="0" dirty="0">
                <a:latin typeface="Georgia" panose="02040502050405020303" pitchFamily="18" charset="0"/>
                <a:cs typeface="Arial"/>
              </a:rPr>
              <a:t>was the biggest driver of </a:t>
            </a:r>
            <a:r>
              <a:rPr lang="en-US" sz="1600" i="1" dirty="0">
                <a:latin typeface="Georgia" panose="02040502050405020303" pitchFamily="18" charset="0"/>
                <a:cs typeface="Arial"/>
              </a:rPr>
              <a:t>incremental</a:t>
            </a:r>
            <a:r>
              <a:rPr lang="en-US" sz="1600" b="0" dirty="0">
                <a:latin typeface="Georgia" panose="02040502050405020303" pitchFamily="18" charset="0"/>
                <a:cs typeface="Arial"/>
              </a:rPr>
              <a:t> sales in </a:t>
            </a:r>
            <a:r>
              <a:rPr lang="en-US" sz="1600" dirty="0">
                <a:latin typeface="Georgia" panose="02040502050405020303" pitchFamily="18" charset="0"/>
                <a:cs typeface="Arial"/>
              </a:rPr>
              <a:t>Convenience stores </a:t>
            </a:r>
            <a:r>
              <a:rPr lang="en-US" sz="1600" b="0" dirty="0">
                <a:latin typeface="Georgia" panose="02040502050405020303" pitchFamily="18" charset="0"/>
                <a:cs typeface="Arial"/>
              </a:rPr>
              <a:t>vs prior month where shoppers also sought </a:t>
            </a:r>
            <a:r>
              <a:rPr lang="en-US" sz="1600" i="1" dirty="0">
                <a:latin typeface="Georgia" panose="02040502050405020303" pitchFamily="18" charset="0"/>
                <a:cs typeface="Arial"/>
              </a:rPr>
              <a:t>food to go</a:t>
            </a:r>
            <a:r>
              <a:rPr lang="en-US" sz="1600" b="0" dirty="0">
                <a:latin typeface="Georgia" panose="02040502050405020303" pitchFamily="18" charset="0"/>
                <a:cs typeface="Arial"/>
              </a:rPr>
              <a:t>.</a:t>
            </a:r>
            <a:endParaRPr lang="en-US" sz="16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elsenIQ Scantrack</a:t>
            </a: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4171002971"/>
              </p:ext>
            </p:extLst>
          </p:nvPr>
        </p:nvGraphicFramePr>
        <p:xfrm>
          <a:off x="4829577" y="1577661"/>
          <a:ext cx="6213699" cy="4018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ocolate Confectionery +£72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till Wine</a:t>
                      </a:r>
                      <a:r>
                        <a:rPr lang="en-GB" sz="1200" b="1" kern="1200" baseline="0" dirty="0">
                          <a:solidFill>
                            <a:schemeClr val="tx1"/>
                          </a:solidFill>
                          <a:latin typeface="+mn-lt"/>
                          <a:ea typeface="Montserrat Light"/>
                          <a:cs typeface="Montserrat Light"/>
                          <a:sym typeface="Montserrat Light"/>
                        </a:rPr>
                        <a:t> +£62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Horticulture (inc Cut Flowers)*</a:t>
                      </a:r>
                      <a:r>
                        <a:rPr lang="en-GB" sz="1200" b="1" kern="1200" baseline="0" dirty="0">
                          <a:solidFill>
                            <a:schemeClr val="tx1"/>
                          </a:solidFill>
                          <a:latin typeface="+mn-lt"/>
                          <a:ea typeface="Montserrat Light"/>
                          <a:cs typeface="Montserrat Light"/>
                          <a:sym typeface="Montserrat Light"/>
                        </a:rPr>
                        <a:t> +£50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pirits</a:t>
                      </a:r>
                      <a:r>
                        <a:rPr lang="en-GB" sz="1200" b="1" kern="1200" baseline="0" dirty="0">
                          <a:solidFill>
                            <a:schemeClr val="tx1"/>
                          </a:solidFill>
                          <a:latin typeface="+mn-lt"/>
                          <a:ea typeface="Montserrat Light"/>
                          <a:cs typeface="Montserrat Light"/>
                          <a:sym typeface="Montserrat Light"/>
                        </a:rPr>
                        <a:t> +£42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Lager</a:t>
                      </a:r>
                      <a:r>
                        <a:rPr lang="en-GB" sz="1200" b="1" kern="1200" baseline="0" dirty="0">
                          <a:solidFill>
                            <a:schemeClr val="tx1"/>
                          </a:solidFill>
                          <a:latin typeface="+mn-lt"/>
                          <a:ea typeface="Montserrat Light"/>
                          <a:cs typeface="Montserrat Light"/>
                          <a:sym typeface="Montserrat Light"/>
                        </a:rPr>
                        <a:t> +£26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weet Biscuits</a:t>
                      </a:r>
                      <a:r>
                        <a:rPr lang="en-GB" sz="1200" b="1" kern="1200" baseline="0" dirty="0">
                          <a:solidFill>
                            <a:schemeClr val="tx1"/>
                          </a:solidFill>
                          <a:latin typeface="+mn-lt"/>
                          <a:ea typeface="Montserrat Light"/>
                          <a:cs typeface="Montserrat Light"/>
                          <a:sym typeface="Montserrat Light"/>
                        </a:rPr>
                        <a:t> +£19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risps &amp; Snacks</a:t>
                      </a:r>
                      <a:r>
                        <a:rPr lang="en-GB" sz="1200" b="1" kern="1200" baseline="0" dirty="0">
                          <a:solidFill>
                            <a:schemeClr val="tx1"/>
                          </a:solidFill>
                          <a:latin typeface="+mn-lt"/>
                          <a:ea typeface="Montserrat Light"/>
                          <a:cs typeface="Montserrat Light"/>
                          <a:sym typeface="Montserrat Light"/>
                        </a:rPr>
                        <a:t> +£16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Morning Goods/Spec Breads</a:t>
                      </a:r>
                      <a:r>
                        <a:rPr lang="en-GB" sz="1200" b="1" kern="1200" baseline="0" dirty="0">
                          <a:solidFill>
                            <a:schemeClr val="tx1"/>
                          </a:solidFill>
                          <a:latin typeface="+mn-lt"/>
                          <a:ea typeface="Montserrat Light"/>
                          <a:cs typeface="Montserrat Light"/>
                          <a:sym typeface="Montserrat Light"/>
                        </a:rPr>
                        <a:t> +£15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Greetings Cards</a:t>
                      </a:r>
                      <a:r>
                        <a:rPr lang="en-GB" sz="1200" b="1" kern="1200" baseline="0" dirty="0">
                          <a:solidFill>
                            <a:schemeClr val="tx1"/>
                          </a:solidFill>
                          <a:latin typeface="+mn-lt"/>
                          <a:ea typeface="Montserrat Light"/>
                          <a:cs typeface="Montserrat Light"/>
                          <a:sym typeface="Montserrat Light"/>
                        </a:rPr>
                        <a:t> +£15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Sparkling Wine</a:t>
                      </a:r>
                      <a:r>
                        <a:rPr lang="en-GB" sz="1200" b="1" kern="1200" baseline="0" dirty="0">
                          <a:solidFill>
                            <a:schemeClr val="tx1"/>
                          </a:solidFill>
                          <a:latin typeface="+mn-lt"/>
                          <a:ea typeface="Montserrat Light"/>
                          <a:cs typeface="Montserrat Light"/>
                          <a:sym typeface="Montserrat Light"/>
                        </a:rPr>
                        <a:t> +£15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Tobacco &amp; Smoking</a:t>
                      </a:r>
                      <a:r>
                        <a:rPr lang="en-GB" sz="1200" b="1" kern="1200" baseline="0" dirty="0">
                          <a:solidFill>
                            <a:schemeClr val="tx1"/>
                          </a:solidFill>
                          <a:latin typeface="+mn-lt"/>
                          <a:ea typeface="Montserrat Light"/>
                          <a:cs typeface="Montserrat Light"/>
                          <a:sym typeface="Montserrat Light"/>
                        </a:rPr>
                        <a:t> +£15m</a:t>
                      </a: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mbient Cake</a:t>
                      </a:r>
                      <a:r>
                        <a:rPr lang="en-GB" sz="1200" b="1" kern="1200" baseline="0" dirty="0">
                          <a:solidFill>
                            <a:schemeClr val="tx1"/>
                          </a:solidFill>
                          <a:latin typeface="+mn-lt"/>
                          <a:ea typeface="Montserrat Light"/>
                          <a:cs typeface="Montserrat Light"/>
                          <a:sym typeface="Montserrat Light"/>
                        </a:rPr>
                        <a:t> +£15m</a:t>
                      </a: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endParaRPr lang="en-GB" sz="1200" b="1" kern="1200" baseline="0" dirty="0">
                        <a:solidFill>
                          <a:schemeClr val="tx1"/>
                        </a:solidFill>
                        <a:latin typeface="+mn-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Tobacco &amp; Smoking £41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hocolate Confectionery £3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till Wine £2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Lager £1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ports &amp; Energy Drinks £1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risps &amp; Snacks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gar Confectionery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Horticulture (inc Cut Flowers)* £1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pirits £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ndwiches £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weet Biscuits £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ola £7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dirty="0">
                          <a:solidFill>
                            <a:schemeClr val="bg1"/>
                          </a:solidFill>
                          <a:latin typeface="+mn-lt"/>
                          <a:ea typeface="Montserrat"/>
                          <a:cs typeface="Montserrat"/>
                          <a:sym typeface="Montserrat"/>
                        </a:rPr>
                        <a:t>Having started the New Year with good intentions and holding back spend, shoppers in February spent more on </a:t>
                      </a:r>
                      <a:r>
                        <a:rPr lang="en-GB" sz="1400" b="1" i="1" dirty="0">
                          <a:solidFill>
                            <a:schemeClr val="bg1"/>
                          </a:solidFill>
                          <a:latin typeface="Georgia" panose="02040502050405020303" pitchFamily="18" charset="0"/>
                          <a:ea typeface="Montserrat"/>
                          <a:cs typeface="Montserrat"/>
                          <a:sym typeface="Montserrat"/>
                        </a:rPr>
                        <a:t>alcohol</a:t>
                      </a:r>
                      <a:r>
                        <a:rPr lang="en-GB" sz="1400" b="0" i="1" dirty="0">
                          <a:solidFill>
                            <a:schemeClr val="bg1"/>
                          </a:solidFill>
                          <a:latin typeface="Georgia" panose="02040502050405020303" pitchFamily="18" charset="0"/>
                          <a:ea typeface="Montserrat"/>
                          <a:cs typeface="Montserrat"/>
                          <a:sym typeface="Montserrat"/>
                        </a:rPr>
                        <a:t>, </a:t>
                      </a:r>
                      <a:r>
                        <a:rPr lang="en-GB" sz="1400" b="1" i="1" dirty="0">
                          <a:solidFill>
                            <a:schemeClr val="bg1"/>
                          </a:solidFill>
                          <a:latin typeface="Georgia" panose="02040502050405020303" pitchFamily="18" charset="0"/>
                          <a:ea typeface="Montserrat"/>
                          <a:cs typeface="Montserrat"/>
                          <a:sym typeface="Montserrat"/>
                        </a:rPr>
                        <a:t>tobacco</a:t>
                      </a:r>
                      <a:r>
                        <a:rPr lang="en-GB" sz="1400" b="0" i="1" dirty="0">
                          <a:solidFill>
                            <a:schemeClr val="bg1"/>
                          </a:solidFill>
                          <a:latin typeface="Georgia" panose="02040502050405020303" pitchFamily="18" charset="0"/>
                          <a:ea typeface="Montserrat"/>
                          <a:cs typeface="Montserrat"/>
                          <a:sym typeface="Montserrat"/>
                        </a:rPr>
                        <a:t> and </a:t>
                      </a:r>
                      <a:r>
                        <a:rPr lang="en-GB" sz="1400" b="1" i="1" dirty="0">
                          <a:solidFill>
                            <a:schemeClr val="bg1"/>
                          </a:solidFill>
                          <a:latin typeface="Georgia" panose="02040502050405020303" pitchFamily="18" charset="0"/>
                          <a:ea typeface="Montserrat"/>
                          <a:cs typeface="Montserrat"/>
                          <a:sym typeface="Montserrat"/>
                        </a:rPr>
                        <a:t>sweet treats</a:t>
                      </a:r>
                      <a:r>
                        <a:rPr lang="en-GB" sz="1400" b="0" i="1" dirty="0">
                          <a:solidFill>
                            <a:schemeClr val="bg1"/>
                          </a:solidFill>
                          <a:latin typeface="Georgia" panose="02040502050405020303" pitchFamily="18" charset="0"/>
                          <a:ea typeface="Montserrat"/>
                          <a:cs typeface="Montserrat"/>
                          <a:sym typeface="Montserrat"/>
                        </a:rPr>
                        <a:t>.</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9701" y="1608250"/>
            <a:ext cx="666750" cy="5715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7FAC0E19-0597-5609-4D80-A69A24B4F598}"/>
              </a:ext>
            </a:extLst>
          </p:cNvPr>
          <p:cNvSpPr txBox="1"/>
          <p:nvPr/>
        </p:nvSpPr>
        <p:spPr>
          <a:xfrm>
            <a:off x="8945809" y="6147620"/>
            <a:ext cx="2792752" cy="200055"/>
          </a:xfrm>
          <a:prstGeom prst="rect">
            <a:avLst/>
          </a:prstGeom>
          <a:noFill/>
        </p:spPr>
        <p:txBody>
          <a:bodyPr wrap="none" rtlCol="0">
            <a:spAutoFit/>
          </a:bodyPr>
          <a:lstStyle/>
          <a:p>
            <a:r>
              <a:rPr lang="en-GB" sz="700" dirty="0"/>
              <a:t>*Horticulture = Cut Flowers, Fresh Christmas Trees, Plants in Soil</a:t>
            </a:r>
          </a:p>
        </p:txBody>
      </p:sp>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43483" y="3545632"/>
            <a:ext cx="3503952" cy="2390972"/>
          </a:xfrm>
        </p:spPr>
        <p:txBody>
          <a:bodyPr/>
          <a:lstStyle/>
          <a:p>
            <a:r>
              <a:rPr lang="en-US" sz="1800" dirty="0">
                <a:latin typeface="Georgia" panose="02040502050405020303" pitchFamily="18" charset="0"/>
                <a:cs typeface="Arial"/>
              </a:rPr>
              <a:t>Relative to other channels the conversion of shoppers for </a:t>
            </a:r>
            <a:r>
              <a:rPr lang="en-US" sz="1800" b="0" i="1" dirty="0">
                <a:latin typeface="Georgia" panose="02040502050405020303" pitchFamily="18" charset="0"/>
                <a:cs typeface="Arial"/>
              </a:rPr>
              <a:t>BWS</a:t>
            </a:r>
            <a:r>
              <a:rPr lang="en-US" sz="1800" dirty="0">
                <a:latin typeface="Georgia" panose="02040502050405020303" pitchFamily="18" charset="0"/>
                <a:cs typeface="Arial"/>
              </a:rPr>
              <a:t> is higher </a:t>
            </a:r>
            <a:r>
              <a:rPr lang="en-US" sz="1800" b="0" i="1" dirty="0">
                <a:latin typeface="Georgia" panose="02040502050405020303" pitchFamily="18" charset="0"/>
                <a:cs typeface="Arial"/>
              </a:rPr>
              <a:t>In Stores</a:t>
            </a:r>
            <a:r>
              <a:rPr lang="en-US" sz="1800" dirty="0">
                <a:latin typeface="Georgia" panose="02040502050405020303" pitchFamily="18" charset="0"/>
                <a:cs typeface="Arial"/>
              </a:rPr>
              <a:t>, indicating there </a:t>
            </a:r>
            <a:r>
              <a:rPr lang="en-US" sz="1800" b="0" i="1" dirty="0">
                <a:latin typeface="Georgia" panose="02040502050405020303" pitchFamily="18" charset="0"/>
                <a:cs typeface="Arial"/>
              </a:rPr>
              <a:t>could be opportunities</a:t>
            </a:r>
            <a:r>
              <a:rPr lang="en-US" sz="1800" dirty="0">
                <a:latin typeface="Georgia" panose="02040502050405020303" pitchFamily="18" charset="0"/>
                <a:cs typeface="Arial"/>
              </a:rPr>
              <a:t> for </a:t>
            </a:r>
            <a:r>
              <a:rPr lang="en-US" sz="1800" b="0" i="1" dirty="0">
                <a:latin typeface="Georgia" panose="02040502050405020303" pitchFamily="18" charset="0"/>
                <a:cs typeface="Arial"/>
              </a:rPr>
              <a:t>Online</a:t>
            </a:r>
            <a:r>
              <a:rPr lang="en-US" sz="1800" dirty="0">
                <a:latin typeface="Georgia" panose="02040502050405020303" pitchFamily="18" charset="0"/>
                <a:cs typeface="Arial"/>
              </a:rPr>
              <a:t> retailers</a:t>
            </a:r>
            <a:r>
              <a:rPr lang="en-US" sz="1800" b="0" dirty="0">
                <a:latin typeface="Georgia" panose="02040502050405020303" pitchFamily="18" charset="0"/>
                <a:cs typeface="Arial"/>
              </a:rPr>
              <a:t>.</a:t>
            </a:r>
            <a:br>
              <a:rPr lang="en-US" sz="1800" b="0" dirty="0">
                <a:latin typeface="Georgia" panose="02040502050405020303" pitchFamily="18" charset="0"/>
                <a:cs typeface="Arial"/>
              </a:rPr>
            </a:br>
            <a:br>
              <a:rPr lang="en-US" sz="1800" b="0" dirty="0">
                <a:latin typeface="Georgia" panose="02040502050405020303" pitchFamily="18" charset="0"/>
                <a:cs typeface="Arial"/>
              </a:rPr>
            </a:br>
            <a:r>
              <a:rPr lang="en-US" sz="1800" dirty="0">
                <a:latin typeface="Georgia" panose="02040502050405020303" pitchFamily="18" charset="0"/>
                <a:cs typeface="Arial"/>
              </a:rPr>
              <a:t>Shopper conversion for </a:t>
            </a:r>
            <a:r>
              <a:rPr lang="en-US" sz="1800" b="0" i="1" dirty="0">
                <a:latin typeface="Georgia" panose="02040502050405020303" pitchFamily="18" charset="0"/>
                <a:cs typeface="Arial"/>
              </a:rPr>
              <a:t>Health &amp; Beauty </a:t>
            </a:r>
            <a:r>
              <a:rPr lang="en-US" sz="1800" dirty="0">
                <a:latin typeface="Georgia" panose="02040502050405020303" pitchFamily="18" charset="0"/>
                <a:cs typeface="Arial"/>
              </a:rPr>
              <a:t>is weaker in the grocery channels indicating shoppers may also seek this category in </a:t>
            </a:r>
            <a:r>
              <a:rPr lang="en-US" sz="1800" b="0" i="1" dirty="0">
                <a:latin typeface="Georgia" panose="02040502050405020303" pitchFamily="18" charset="0"/>
                <a:cs typeface="Arial"/>
              </a:rPr>
              <a:t>specialist pure play retailers</a:t>
            </a:r>
            <a:r>
              <a:rPr lang="en-US" sz="1800" dirty="0">
                <a:latin typeface="Georgia" panose="02040502050405020303" pitchFamily="18" charset="0"/>
                <a:cs typeface="Arial"/>
              </a:rPr>
              <a:t>.</a:t>
            </a:r>
            <a:br>
              <a:rPr lang="en-US" sz="1800" dirty="0">
                <a:latin typeface="Georgia" panose="02040502050405020303" pitchFamily="18" charset="0"/>
                <a:cs typeface="Arial"/>
              </a:rPr>
            </a:br>
            <a:br>
              <a:rPr lang="en-US" sz="1800" dirty="0">
                <a:latin typeface="Georgia" panose="02040502050405020303" pitchFamily="18" charset="0"/>
                <a:cs typeface="Arial"/>
              </a:rPr>
            </a:br>
            <a:r>
              <a:rPr lang="en-US" sz="1800" dirty="0">
                <a:latin typeface="Georgia" panose="02040502050405020303" pitchFamily="18" charset="0"/>
                <a:cs typeface="Arial"/>
              </a:rPr>
              <a:t>Conversion of </a:t>
            </a:r>
            <a:r>
              <a:rPr lang="en-US" sz="1800" b="0" i="1" dirty="0">
                <a:latin typeface="Georgia" panose="02040502050405020303" pitchFamily="18" charset="0"/>
                <a:cs typeface="Arial"/>
              </a:rPr>
              <a:t>Household</a:t>
            </a:r>
            <a:r>
              <a:rPr lang="en-US" sz="1800" dirty="0">
                <a:latin typeface="Georgia" panose="02040502050405020303" pitchFamily="18" charset="0"/>
                <a:cs typeface="Arial"/>
              </a:rPr>
              <a:t> is weaker at the </a:t>
            </a:r>
            <a:r>
              <a:rPr lang="en-US" sz="1800" b="0" i="1" dirty="0">
                <a:latin typeface="Georgia" panose="02040502050405020303" pitchFamily="18" charset="0"/>
                <a:cs typeface="Arial"/>
              </a:rPr>
              <a:t>Discounters</a:t>
            </a:r>
            <a:r>
              <a:rPr lang="en-US" sz="1800" dirty="0">
                <a:latin typeface="Georgia" panose="02040502050405020303" pitchFamily="18" charset="0"/>
                <a:cs typeface="Arial"/>
              </a:rPr>
              <a:t> which may indicate shoppers prefer a </a:t>
            </a:r>
            <a:r>
              <a:rPr lang="en-US" sz="1800" b="0" i="1" dirty="0">
                <a:latin typeface="Georgia" panose="02040502050405020303" pitchFamily="18" charset="0"/>
                <a:cs typeface="Arial"/>
              </a:rPr>
              <a:t>wider range </a:t>
            </a:r>
            <a:r>
              <a:rPr lang="en-US" sz="1800" dirty="0">
                <a:latin typeface="Georgia" panose="02040502050405020303" pitchFamily="18" charset="0"/>
                <a:cs typeface="Arial"/>
              </a:rPr>
              <a:t>in this category </a:t>
            </a:r>
            <a:endParaRPr lang="en-US" sz="1800" dirty="0">
              <a:latin typeface="Georgia" panose="02040502050405020303" pitchFamily="18" charset="0"/>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elsenIQ Homescan FMCG (category penetration index on channel penetration)</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3073168416"/>
              </p:ext>
            </p:extLst>
          </p:nvPr>
        </p:nvGraphicFramePr>
        <p:xfrm>
          <a:off x="4398135" y="2466304"/>
          <a:ext cx="7102699" cy="2998989"/>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63340" y="1691458"/>
            <a:ext cx="7604484" cy="492443"/>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Shopper Conversion by Category</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3</a:t>
            </a: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2756386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903590" y="2012302"/>
            <a:ext cx="8030574" cy="2554545"/>
          </a:xfrm>
          <a:prstGeom prst="rect">
            <a:avLst/>
          </a:prstGeom>
          <a:noFill/>
        </p:spPr>
        <p:txBody>
          <a:bodyPr wrap="square">
            <a:spAutoFit/>
          </a:bodyPr>
          <a:lstStyle/>
          <a:p>
            <a:pPr algn="l">
              <a:spcAft>
                <a:spcPts val="600"/>
              </a:spcAft>
            </a:pPr>
            <a:r>
              <a:rPr lang="en-US" sz="3200" i="1" dirty="0">
                <a:latin typeface="Georgia" panose="02040502050405020303" pitchFamily="18" charset="0"/>
              </a:rPr>
              <a:t>Shoppers are feeling the squeeze and are </a:t>
            </a:r>
            <a:r>
              <a:rPr lang="en-US" sz="3200" i="1" dirty="0">
                <a:solidFill>
                  <a:schemeClr val="accent1"/>
                </a:solidFill>
                <a:latin typeface="Georgia" panose="02040502050405020303" pitchFamily="18" charset="0"/>
              </a:rPr>
              <a:t>having to make compromises </a:t>
            </a:r>
            <a:r>
              <a:rPr lang="en-US" sz="3200" i="1" dirty="0">
                <a:latin typeface="Georgia" panose="02040502050405020303" pitchFamily="18" charset="0"/>
              </a:rPr>
              <a:t>healthier food for many is more expensive … so many are </a:t>
            </a:r>
            <a:r>
              <a:rPr lang="en-US" sz="3200" i="1" dirty="0">
                <a:solidFill>
                  <a:schemeClr val="accent1"/>
                </a:solidFill>
                <a:latin typeface="Georgia" panose="02040502050405020303" pitchFamily="18" charset="0"/>
              </a:rPr>
              <a:t>returning to ‘comfort foods/habits’</a:t>
            </a:r>
          </a:p>
        </p:txBody>
      </p:sp>
    </p:spTree>
    <p:extLst>
      <p:ext uri="{BB962C8B-B14F-4D97-AF65-F5344CB8AC3E}">
        <p14:creationId xmlns:p14="http://schemas.microsoft.com/office/powerpoint/2010/main" val="341553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0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43482" y="2296381"/>
            <a:ext cx="3575104" cy="2390972"/>
          </a:xfrm>
        </p:spPr>
        <p:txBody>
          <a:bodyPr/>
          <a:lstStyle/>
          <a:p>
            <a:r>
              <a:rPr lang="en-US" sz="3200" i="1" dirty="0">
                <a:latin typeface="Georgia" panose="02040502050405020303" pitchFamily="18" charset="0"/>
                <a:cs typeface="Arial"/>
              </a:rPr>
              <a:t>Discounters </a:t>
            </a:r>
            <a:r>
              <a:rPr lang="en-US" sz="3200" b="0" i="1" dirty="0">
                <a:latin typeface="Georgia" panose="02040502050405020303" pitchFamily="18" charset="0"/>
                <a:cs typeface="Arial"/>
              </a:rPr>
              <a:t>have their </a:t>
            </a:r>
            <a:r>
              <a:rPr lang="en-US" sz="3200" i="1" dirty="0">
                <a:latin typeface="Georgia" panose="02040502050405020303" pitchFamily="18" charset="0"/>
                <a:cs typeface="Arial"/>
              </a:rPr>
              <a:t>highest growth</a:t>
            </a:r>
            <a:r>
              <a:rPr lang="en-US" sz="3200" b="0" i="1" dirty="0">
                <a:latin typeface="Georgia" panose="02040502050405020303" pitchFamily="18" charset="0"/>
                <a:cs typeface="Arial"/>
              </a:rPr>
              <a:t> for over a </a:t>
            </a:r>
            <a:r>
              <a:rPr lang="en-US" sz="3200" i="1" dirty="0">
                <a:latin typeface="Georgia" panose="02040502050405020303" pitchFamily="18" charset="0"/>
                <a:cs typeface="Arial"/>
              </a:rPr>
              <a:t>decade</a:t>
            </a:r>
            <a:r>
              <a:rPr lang="en-US" sz="3200" b="0" i="1" dirty="0">
                <a:latin typeface="Georgia" panose="02040502050405020303" pitchFamily="18" charset="0"/>
                <a:cs typeface="Arial"/>
              </a:rPr>
              <a:t>.</a:t>
            </a:r>
            <a:br>
              <a:rPr lang="en-US" sz="3200" b="0" dirty="0">
                <a:latin typeface="Georgia" panose="02040502050405020303" pitchFamily="18" charset="0"/>
                <a:cs typeface="Arial"/>
              </a:rPr>
            </a:br>
            <a:endParaRPr lang="en-US" sz="32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elsenIQ Total Till</a:t>
            </a: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2</a:t>
            </a:fld>
            <a:endParaRPr lang="en-US" dirty="0"/>
          </a:p>
        </p:txBody>
      </p:sp>
      <p:pic>
        <p:nvPicPr>
          <p:cNvPr id="8" name="Picture 7">
            <a:extLst>
              <a:ext uri="{FF2B5EF4-FFF2-40B4-BE49-F238E27FC236}">
                <a16:creationId xmlns:a16="http://schemas.microsoft.com/office/drawing/2014/main" id="{564B969D-EF70-63D6-A4FC-6EABA4FCAE0D}"/>
              </a:ext>
            </a:extLst>
          </p:cNvPr>
          <p:cNvPicPr>
            <a:picLocks noChangeAspect="1"/>
          </p:cNvPicPr>
          <p:nvPr/>
        </p:nvPicPr>
        <p:blipFill>
          <a:blip r:embed="rId2"/>
          <a:stretch>
            <a:fillRect/>
          </a:stretch>
        </p:blipFill>
        <p:spPr>
          <a:xfrm>
            <a:off x="4384471" y="1809483"/>
            <a:ext cx="7471133" cy="3593205"/>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217725" y="2225547"/>
            <a:ext cx="3503952" cy="2390972"/>
          </a:xfrm>
        </p:spPr>
        <p:txBody>
          <a:bodyPr/>
          <a:lstStyle/>
          <a:p>
            <a:r>
              <a:rPr lang="en-US" dirty="0"/>
              <a:t>The </a:t>
            </a:r>
            <a:r>
              <a:rPr lang="en-US" b="0" i="1" dirty="0">
                <a:latin typeface="Georgia" panose="02040502050405020303" pitchFamily="18" charset="0"/>
              </a:rPr>
              <a:t>Discounters</a:t>
            </a:r>
            <a:r>
              <a:rPr lang="en-US" b="0" i="1" dirty="0"/>
              <a:t> </a:t>
            </a:r>
            <a:r>
              <a:rPr lang="en-US" dirty="0"/>
              <a:t>are</a:t>
            </a:r>
            <a:r>
              <a:rPr lang="en-US" b="0" i="1" dirty="0"/>
              <a:t> </a:t>
            </a:r>
            <a:r>
              <a:rPr lang="en-US" b="0" i="1" dirty="0">
                <a:latin typeface="Georgia" panose="02040502050405020303" pitchFamily="18" charset="0"/>
              </a:rPr>
              <a:t>gaining </a:t>
            </a:r>
            <a:r>
              <a:rPr lang="en-US" dirty="0"/>
              <a:t>market share </a:t>
            </a:r>
            <a:r>
              <a:rPr lang="en-US" b="0" i="1" dirty="0">
                <a:latin typeface="Georgia" panose="02040502050405020303" pitchFamily="18" charset="0"/>
              </a:rPr>
              <a:t>faster</a:t>
            </a:r>
            <a:endParaRPr lang="en-US" b="0" i="1" dirty="0"/>
          </a:p>
        </p:txBody>
      </p:sp>
      <p:cxnSp>
        <p:nvCxnSpPr>
          <p:cNvPr id="7" name="Straight Connector 6">
            <a:extLst>
              <a:ext uri="{FF2B5EF4-FFF2-40B4-BE49-F238E27FC236}">
                <a16:creationId xmlns:a16="http://schemas.microsoft.com/office/drawing/2014/main" id="{EBD282A7-FE85-B89E-7E8F-B7A0130CB1A8}"/>
              </a:ext>
            </a:extLst>
          </p:cNvPr>
          <p:cNvCxnSpPr>
            <a:cxnSpLocks/>
            <a:stCxn id="19" idx="4"/>
            <a:endCxn id="21" idx="4"/>
          </p:cNvCxnSpPr>
          <p:nvPr/>
        </p:nvCxnSpPr>
        <p:spPr>
          <a:xfrm>
            <a:off x="8562035" y="1423945"/>
            <a:ext cx="25758" cy="417565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p:nvPr/>
        </p:nvCxnSpPr>
        <p:spPr>
          <a:xfrm>
            <a:off x="4606550" y="1025912"/>
            <a:ext cx="0" cy="468351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290932" y="193067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2" name="Oval 11">
            <a:extLst>
              <a:ext uri="{FF2B5EF4-FFF2-40B4-BE49-F238E27FC236}">
                <a16:creationId xmlns:a16="http://schemas.microsoft.com/office/drawing/2014/main" id="{EC501D78-1AD0-AFD0-4CDF-F03ACBADB7F9}"/>
              </a:ext>
            </a:extLst>
          </p:cNvPr>
          <p:cNvSpPr/>
          <p:nvPr/>
        </p:nvSpPr>
        <p:spPr>
          <a:xfrm>
            <a:off x="4316689" y="443851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3" name="Oval 12">
            <a:extLst>
              <a:ext uri="{FF2B5EF4-FFF2-40B4-BE49-F238E27FC236}">
                <a16:creationId xmlns:a16="http://schemas.microsoft.com/office/drawing/2014/main" id="{07E64ACD-AA07-26DF-9E03-DA2176BABE31}"/>
              </a:ext>
            </a:extLst>
          </p:cNvPr>
          <p:cNvSpPr/>
          <p:nvPr/>
        </p:nvSpPr>
        <p:spPr>
          <a:xfrm>
            <a:off x="4284492" y="5325384"/>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14" name="TextBox 13">
            <a:extLst>
              <a:ext uri="{FF2B5EF4-FFF2-40B4-BE49-F238E27FC236}">
                <a16:creationId xmlns:a16="http://schemas.microsoft.com/office/drawing/2014/main" id="{29A50278-70A2-922B-E64B-81D5BBFBFCFF}"/>
              </a:ext>
            </a:extLst>
          </p:cNvPr>
          <p:cNvSpPr txBox="1"/>
          <p:nvPr/>
        </p:nvSpPr>
        <p:spPr>
          <a:xfrm>
            <a:off x="5035638" y="934333"/>
            <a:ext cx="3078051" cy="624840"/>
          </a:xfrm>
          <a:prstGeom prst="rect">
            <a:avLst/>
          </a:prstGeom>
          <a:noFill/>
        </p:spPr>
        <p:txBody>
          <a:bodyPr wrap="square" lIns="0" rIns="0" rtlCol="0" anchor="ctr">
            <a:noAutofit/>
          </a:bodyPr>
          <a:lstStyle/>
          <a:p>
            <a:pPr lvl="0">
              <a:tabLst>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With shoppers visiting Discounters more often, growths at </a:t>
            </a:r>
            <a:r>
              <a:rPr lang="en-GB" sz="1200" b="1" i="1" dirty="0">
                <a:solidFill>
                  <a:schemeClr val="tx1">
                    <a:lumMod val="50000"/>
                  </a:schemeClr>
                </a:solidFill>
                <a:effectLst/>
                <a:ea typeface="Times New Roman" panose="02020603050405020304" pitchFamily="18" charset="0"/>
                <a:cs typeface="Arial" panose="020B0604020202020204" pitchFamily="34" charset="0"/>
              </a:rPr>
              <a:t>Lidl </a:t>
            </a:r>
            <a:r>
              <a:rPr lang="en-GB" sz="1200" i="1" dirty="0">
                <a:solidFill>
                  <a:schemeClr val="tx1">
                    <a:lumMod val="50000"/>
                  </a:schemeClr>
                </a:solidFill>
                <a:effectLst/>
                <a:ea typeface="Times New Roman" panose="02020603050405020304" pitchFamily="18" charset="0"/>
                <a:cs typeface="Arial" panose="020B0604020202020204" pitchFamily="34" charset="0"/>
              </a:rPr>
              <a:t>(</a:t>
            </a:r>
            <a:r>
              <a:rPr lang="en-GB" sz="1200" b="1" i="1" dirty="0">
                <a:solidFill>
                  <a:schemeClr val="tx1">
                    <a:lumMod val="50000"/>
                  </a:schemeClr>
                </a:solidFill>
                <a:effectLst/>
                <a:ea typeface="Times New Roman" panose="02020603050405020304" pitchFamily="18" charset="0"/>
                <a:cs typeface="Arial" panose="020B0604020202020204" pitchFamily="34" charset="0"/>
              </a:rPr>
              <a:t>+27.1%</a:t>
            </a:r>
            <a:r>
              <a:rPr lang="en-GB" sz="1200" i="1" dirty="0">
                <a:solidFill>
                  <a:schemeClr val="tx1">
                    <a:lumMod val="50000"/>
                  </a:schemeClr>
                </a:solidFill>
                <a:effectLst/>
                <a:ea typeface="Times New Roman" panose="02020603050405020304" pitchFamily="18" charset="0"/>
                <a:cs typeface="Arial" panose="020B0604020202020204" pitchFamily="34" charset="0"/>
              </a:rPr>
              <a:t>)</a:t>
            </a:r>
            <a:r>
              <a:rPr lang="en-GB" sz="1200" b="1" i="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nd</a:t>
            </a:r>
            <a:r>
              <a:rPr lang="en-GB" sz="1200" b="1" dirty="0">
                <a:solidFill>
                  <a:schemeClr val="tx1">
                    <a:lumMod val="50000"/>
                  </a:schemeClr>
                </a:solidFill>
                <a:effectLst/>
                <a:ea typeface="Times New Roman" panose="02020603050405020304" pitchFamily="18" charset="0"/>
                <a:cs typeface="Arial" panose="020B0604020202020204" pitchFamily="34" charset="0"/>
              </a:rPr>
              <a:t> </a:t>
            </a:r>
            <a:r>
              <a:rPr lang="en-GB" sz="1200" b="1" i="1" dirty="0">
                <a:solidFill>
                  <a:schemeClr val="tx1">
                    <a:lumMod val="50000"/>
                  </a:schemeClr>
                </a:solidFill>
                <a:effectLst/>
                <a:ea typeface="Times New Roman" panose="02020603050405020304" pitchFamily="18" charset="0"/>
                <a:cs typeface="Arial" panose="020B0604020202020204" pitchFamily="34" charset="0"/>
              </a:rPr>
              <a:t>Aldi (+26.6%) </a:t>
            </a:r>
            <a:r>
              <a:rPr lang="en-GB" sz="1200" dirty="0">
                <a:solidFill>
                  <a:schemeClr val="tx1">
                    <a:lumMod val="50000"/>
                  </a:schemeClr>
                </a:solidFill>
                <a:effectLst/>
                <a:ea typeface="Times New Roman" panose="02020603050405020304" pitchFamily="18" charset="0"/>
                <a:cs typeface="Arial" panose="020B0604020202020204" pitchFamily="34" charset="0"/>
              </a:rPr>
              <a:t>continue to </a:t>
            </a:r>
            <a:r>
              <a:rPr lang="en-GB" sz="1200" b="1" i="1" dirty="0">
                <a:solidFill>
                  <a:schemeClr val="tx1">
                    <a:lumMod val="50000"/>
                  </a:schemeClr>
                </a:solidFill>
                <a:effectLst/>
                <a:ea typeface="Times New Roman" panose="02020603050405020304" pitchFamily="18" charset="0"/>
                <a:cs typeface="Arial" panose="020B0604020202020204" pitchFamily="34" charset="0"/>
              </a:rPr>
              <a:t>accelerate</a:t>
            </a:r>
            <a:r>
              <a:rPr lang="en-GB" sz="1200" dirty="0">
                <a:solidFill>
                  <a:schemeClr val="tx1">
                    <a:lumMod val="50000"/>
                  </a:schemeClr>
                </a:solidFill>
                <a:effectLst/>
                <a:ea typeface="Times New Roman" panose="02020603050405020304" pitchFamily="18" charset="0"/>
                <a:cs typeface="Arial" panose="020B0604020202020204" pitchFamily="34" charset="0"/>
              </a:rPr>
              <a:t> and these two retailers ar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taking market share</a:t>
            </a:r>
            <a:r>
              <a:rPr lang="en-GB" sz="1200" dirty="0">
                <a:solidFill>
                  <a:schemeClr val="tx1">
                    <a:lumMod val="50000"/>
                  </a:schemeClr>
                </a:solidFill>
                <a:effectLst/>
                <a:ea typeface="Times New Roman" panose="02020603050405020304" pitchFamily="18" charset="0"/>
                <a:cs typeface="Arial" panose="020B0604020202020204" pitchFamily="34" charset="0"/>
              </a:rPr>
              <a:t> from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ll formats </a:t>
            </a:r>
            <a:r>
              <a:rPr lang="en-GB" sz="1200" dirty="0">
                <a:solidFill>
                  <a:schemeClr val="tx1">
                    <a:lumMod val="50000"/>
                  </a:schemeClr>
                </a:solidFill>
                <a:effectLst/>
                <a:ea typeface="Times New Roman" panose="02020603050405020304" pitchFamily="18" charset="0"/>
                <a:cs typeface="Arial" panose="020B0604020202020204" pitchFamily="34" charset="0"/>
              </a:rPr>
              <a:t>across the industry. </a:t>
            </a:r>
            <a:r>
              <a:rPr lang="en-GB" sz="1200" dirty="0">
                <a:solidFill>
                  <a:schemeClr val="tx1">
                    <a:lumMod val="50000"/>
                  </a:schemeClr>
                </a:solidFill>
                <a:effectLst/>
                <a:ea typeface="Times New Roman" panose="02020603050405020304" pitchFamily="18" charset="0"/>
              </a:rPr>
              <a:t> </a:t>
            </a:r>
          </a:p>
        </p:txBody>
      </p:sp>
      <p:sp>
        <p:nvSpPr>
          <p:cNvPr id="15" name="TextBox 14">
            <a:extLst>
              <a:ext uri="{FF2B5EF4-FFF2-40B4-BE49-F238E27FC236}">
                <a16:creationId xmlns:a16="http://schemas.microsoft.com/office/drawing/2014/main" id="{F91D3890-ADB1-A16F-FEAC-04879BD71F92}"/>
              </a:ext>
            </a:extLst>
          </p:cNvPr>
          <p:cNvSpPr txBox="1"/>
          <p:nvPr/>
        </p:nvSpPr>
        <p:spPr>
          <a:xfrm>
            <a:off x="5019149" y="2787397"/>
            <a:ext cx="2972192" cy="624840"/>
          </a:xfrm>
          <a:prstGeom prst="rect">
            <a:avLst/>
          </a:prstGeom>
          <a:noFill/>
        </p:spPr>
        <p:txBody>
          <a:bodyPr wrap="square" lIns="0" rIns="0" rtlCol="0" anchor="ctr">
            <a:noAutofit/>
          </a:bodyPr>
          <a:lstStyle/>
          <a:p>
            <a:pPr lvl="0">
              <a:tabLst>
                <a:tab pos="685800" algn="l"/>
              </a:tabLst>
            </a:pPr>
            <a:r>
              <a:rPr lang="en-GB" sz="1200" b="1" i="1" dirty="0">
                <a:effectLst/>
                <a:latin typeface="Georgia" panose="02040502050405020303" pitchFamily="18" charset="0"/>
                <a:ea typeface="Times New Roman" panose="02020603050405020304" pitchFamily="18" charset="0"/>
                <a:cs typeface="Arial" panose="020B0604020202020204" pitchFamily="34" charset="0"/>
              </a:rPr>
              <a:t>‘Dine in for £20’ Valentine`s Meal Deals </a:t>
            </a:r>
            <a:r>
              <a:rPr lang="en-GB" sz="1200" dirty="0">
                <a:effectLst/>
                <a:ea typeface="Times New Roman" panose="02020603050405020304" pitchFamily="18" charset="0"/>
                <a:cs typeface="Arial" panose="020B0604020202020204" pitchFamily="34" charset="0"/>
              </a:rPr>
              <a:t>will have helped </a:t>
            </a:r>
            <a:r>
              <a:rPr lang="en-GB" sz="1200" b="1" i="1" dirty="0">
                <a:effectLst/>
                <a:latin typeface="Georgia" panose="02040502050405020303" pitchFamily="18" charset="0"/>
                <a:ea typeface="Times New Roman" panose="02020603050405020304" pitchFamily="18" charset="0"/>
                <a:cs typeface="Arial" panose="020B0604020202020204" pitchFamily="34" charset="0"/>
              </a:rPr>
              <a:t>M&amp;S (+11.6%) </a:t>
            </a:r>
            <a:r>
              <a:rPr lang="en-GB" sz="1200" dirty="0">
                <a:effectLst/>
                <a:ea typeface="Times New Roman" panose="02020603050405020304" pitchFamily="18" charset="0"/>
                <a:cs typeface="Arial" panose="020B0604020202020204" pitchFamily="34" charset="0"/>
              </a:rPr>
              <a:t>shopper </a:t>
            </a:r>
            <a:r>
              <a:rPr lang="en-GB" sz="1200" dirty="0">
                <a:solidFill>
                  <a:schemeClr val="tx1">
                    <a:lumMod val="50000"/>
                  </a:schemeClr>
                </a:solidFill>
                <a:effectLst/>
                <a:ea typeface="Times New Roman" panose="02020603050405020304" pitchFamily="18" charset="0"/>
                <a:cs typeface="Arial" panose="020B0604020202020204" pitchFamily="34" charset="0"/>
              </a:rPr>
              <a:t>penetration</a:t>
            </a:r>
            <a:r>
              <a:rPr lang="en-GB" sz="1200" dirty="0">
                <a:effectLst/>
                <a:ea typeface="Times New Roman" panose="02020603050405020304" pitchFamily="18" charset="0"/>
                <a:cs typeface="Arial" panose="020B0604020202020204" pitchFamily="34" charset="0"/>
              </a:rPr>
              <a:t> increased (+6.7%) which equates to</a:t>
            </a:r>
            <a:r>
              <a:rPr lang="en-GB" sz="1200" b="1" dirty="0">
                <a:effectLst/>
                <a:ea typeface="Times New Roman" panose="02020603050405020304" pitchFamily="18" charset="0"/>
                <a:cs typeface="Arial" panose="020B0604020202020204" pitchFamily="34" charset="0"/>
              </a:rPr>
              <a:t> </a:t>
            </a:r>
            <a:r>
              <a:rPr lang="en-GB" sz="1200" b="1" i="1" dirty="0">
                <a:effectLst/>
                <a:latin typeface="Georgia" panose="02040502050405020303" pitchFamily="18" charset="0"/>
                <a:ea typeface="Times New Roman" panose="02020603050405020304" pitchFamily="18" charset="0"/>
                <a:cs typeface="Arial" panose="020B0604020202020204" pitchFamily="34" charset="0"/>
              </a:rPr>
              <a:t>400k additional shoppers than this time last year.</a:t>
            </a:r>
          </a:p>
          <a:p>
            <a:pPr lvl="0">
              <a:tabLst>
                <a:tab pos="685800" algn="l"/>
              </a:tabLst>
            </a:pPr>
            <a:endParaRPr lang="en-GB" sz="1200" b="1" i="1" dirty="0">
              <a:latin typeface="Georgia" panose="02040502050405020303" pitchFamily="18" charset="0"/>
              <a:ea typeface="Times New Roman" panose="02020603050405020304" pitchFamily="18" charset="0"/>
              <a:cs typeface="Arial" panose="020B0604020202020204" pitchFamily="34" charset="0"/>
            </a:endParaRPr>
          </a:p>
          <a:p>
            <a:pPr lvl="0">
              <a:tabLst>
                <a:tab pos="685800" algn="l"/>
              </a:tabLst>
            </a:pPr>
            <a:r>
              <a:rPr lang="en-GB" sz="1200" dirty="0">
                <a:solidFill>
                  <a:schemeClr val="tx1">
                    <a:lumMod val="50000"/>
                  </a:schemeClr>
                </a:solidFill>
                <a:effectLst/>
                <a:ea typeface="Times New Roman" panose="02020603050405020304" pitchFamily="18" charset="0"/>
                <a:cs typeface="Arial" panose="020B0604020202020204" pitchFamily="34" charset="0"/>
              </a:rPr>
              <a:t>This also suggests that whilst consumers are feeling more uncertain about their spending intentions, they continue t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trade up for events </a:t>
            </a:r>
            <a:r>
              <a:rPr lang="en-GB" sz="1200" dirty="0">
                <a:solidFill>
                  <a:schemeClr val="tx1">
                    <a:lumMod val="50000"/>
                  </a:schemeClr>
                </a:solidFill>
                <a:effectLst/>
                <a:ea typeface="Times New Roman" panose="02020603050405020304" pitchFamily="18" charset="0"/>
                <a:cs typeface="Arial" panose="020B0604020202020204" pitchFamily="34" charset="0"/>
              </a:rPr>
              <a:t>and are willing to spend more on premium food and indulgences - provided they can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make savings on everyday grocery items</a:t>
            </a:r>
            <a:r>
              <a:rPr lang="en-GB" sz="1200" dirty="0">
                <a:solidFill>
                  <a:schemeClr val="tx1">
                    <a:lumMod val="50000"/>
                  </a:schemeClr>
                </a:solidFill>
                <a:effectLst/>
                <a:ea typeface="Times New Roman" panose="02020603050405020304" pitchFamily="18" charset="0"/>
                <a:cs typeface="Arial" panose="020B0604020202020204" pitchFamily="34" charset="0"/>
              </a:rPr>
              <a:t>.</a:t>
            </a:r>
            <a:endParaRPr lang="en-GB" sz="1200" dirty="0">
              <a:solidFill>
                <a:schemeClr val="tx1">
                  <a:lumMod val="50000"/>
                </a:schemeClr>
              </a:solidFill>
              <a:effectLst/>
              <a:ea typeface="Times New Roman" panose="02020603050405020304" pitchFamily="18" charset="0"/>
            </a:endParaRPr>
          </a:p>
        </p:txBody>
      </p:sp>
      <p:sp>
        <p:nvSpPr>
          <p:cNvPr id="17" name="TextBox 16">
            <a:extLst>
              <a:ext uri="{FF2B5EF4-FFF2-40B4-BE49-F238E27FC236}">
                <a16:creationId xmlns:a16="http://schemas.microsoft.com/office/drawing/2014/main" id="{B9693411-D613-2E15-23B6-0793E1355210}"/>
              </a:ext>
            </a:extLst>
          </p:cNvPr>
          <p:cNvSpPr txBox="1"/>
          <p:nvPr/>
        </p:nvSpPr>
        <p:spPr>
          <a:xfrm>
            <a:off x="5012710" y="4548818"/>
            <a:ext cx="3068784" cy="624840"/>
          </a:xfrm>
          <a:prstGeom prst="rect">
            <a:avLst/>
          </a:prstGeom>
          <a:noFill/>
        </p:spPr>
        <p:txBody>
          <a:bodyPr wrap="square" lIns="0" rIns="0" rtlCol="0" anchor="ctr">
            <a:noAutofit/>
          </a:bodyPr>
          <a:lstStyle/>
          <a:p>
            <a:pPr lvl="0">
              <a:tabLst>
                <a:tab pos="685800" algn="l"/>
              </a:tabLst>
            </a:pPr>
            <a:r>
              <a:rPr lang="en-GB" sz="1200" b="1" i="1" dirty="0">
                <a:solidFill>
                  <a:schemeClr val="tx1">
                    <a:lumMod val="50000"/>
                  </a:schemeClr>
                </a:solidFill>
                <a:effectLst/>
                <a:latin typeface="Georgia" panose="02040502050405020303" pitchFamily="18" charset="0"/>
                <a:ea typeface="Times New Roman" panose="02020603050405020304" pitchFamily="18" charset="0"/>
              </a:rPr>
              <a:t>Tesco</a:t>
            </a:r>
            <a:r>
              <a:rPr lang="en-GB" sz="1200" b="1" dirty="0">
                <a:solidFill>
                  <a:schemeClr val="tx1">
                    <a:lumMod val="50000"/>
                  </a:schemeClr>
                </a:solidFill>
                <a:effectLst/>
                <a:latin typeface="+mj-lt"/>
                <a:ea typeface="Times New Roman" panose="02020603050405020304" pitchFamily="18" charset="0"/>
              </a:rPr>
              <a:t> </a:t>
            </a:r>
            <a:r>
              <a:rPr lang="en-GB" sz="1200" dirty="0">
                <a:solidFill>
                  <a:schemeClr val="tx1">
                    <a:lumMod val="50000"/>
                  </a:schemeClr>
                </a:solidFill>
                <a:effectLst/>
                <a:latin typeface="+mj-lt"/>
                <a:ea typeface="Times New Roman" panose="02020603050405020304" pitchFamily="18" charset="0"/>
              </a:rPr>
              <a:t>was then the next fastest growing retailer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sales +9.4%</a:t>
            </a:r>
            <a:r>
              <a:rPr lang="en-GB" sz="1200" dirty="0">
                <a:solidFill>
                  <a:schemeClr val="tx1">
                    <a:lumMod val="50000"/>
                  </a:schemeClr>
                </a:solidFill>
                <a:effectLst/>
                <a:latin typeface="+mj-lt"/>
                <a:ea typeface="Times New Roman" panose="02020603050405020304" pitchFamily="18" charset="0"/>
              </a:rPr>
              <a:t>) and was the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only ‘big4 supermarket’</a:t>
            </a:r>
            <a:r>
              <a:rPr lang="en-GB" sz="1200" dirty="0">
                <a:solidFill>
                  <a:schemeClr val="tx1">
                    <a:lumMod val="50000"/>
                  </a:schemeClr>
                </a:solidFill>
                <a:effectLst/>
                <a:latin typeface="+mj-lt"/>
                <a:ea typeface="Times New Roman" panose="02020603050405020304" pitchFamily="18" charset="0"/>
              </a:rPr>
              <a:t> to have an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increase in spend per visit</a:t>
            </a:r>
            <a:r>
              <a:rPr lang="en-GB" sz="1200" dirty="0">
                <a:solidFill>
                  <a:schemeClr val="tx1">
                    <a:lumMod val="50000"/>
                  </a:schemeClr>
                </a:solidFill>
                <a:effectLst/>
                <a:latin typeface="+mj-lt"/>
                <a:ea typeface="Times New Roman" panose="02020603050405020304" pitchFamily="18" charset="0"/>
              </a:rPr>
              <a:t> in the last 4 weeks</a:t>
            </a:r>
            <a:r>
              <a:rPr lang="en-GB" sz="1200" dirty="0">
                <a:solidFill>
                  <a:srgbClr val="000000"/>
                </a:solidFill>
                <a:effectLst/>
                <a:latin typeface="+mj-lt"/>
                <a:ea typeface="Times New Roman" panose="02020603050405020304" pitchFamily="18" charset="0"/>
              </a:rPr>
              <a:t>. </a:t>
            </a:r>
            <a:endParaRPr lang="en-GB" sz="1200" dirty="0">
              <a:effectLst/>
              <a:latin typeface="+mj-lt"/>
              <a:ea typeface="Times New Roman" panose="02020603050405020304" pitchFamily="18" charset="0"/>
            </a:endParaRPr>
          </a:p>
        </p:txBody>
      </p:sp>
      <p:sp>
        <p:nvSpPr>
          <p:cNvPr id="19" name="Oval 18">
            <a:extLst>
              <a:ext uri="{FF2B5EF4-FFF2-40B4-BE49-F238E27FC236}">
                <a16:creationId xmlns:a16="http://schemas.microsoft.com/office/drawing/2014/main" id="{C7BF2146-8768-F82B-3D50-EB40D55B357D}"/>
              </a:ext>
            </a:extLst>
          </p:cNvPr>
          <p:cNvSpPr/>
          <p:nvPr/>
        </p:nvSpPr>
        <p:spPr>
          <a:xfrm>
            <a:off x="8249615"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
        <p:nvSpPr>
          <p:cNvPr id="20" name="Oval 19">
            <a:extLst>
              <a:ext uri="{FF2B5EF4-FFF2-40B4-BE49-F238E27FC236}">
                <a16:creationId xmlns:a16="http://schemas.microsoft.com/office/drawing/2014/main" id="{E055B95D-C157-4EEF-EBEC-9F9F947D63AF}"/>
              </a:ext>
            </a:extLst>
          </p:cNvPr>
          <p:cNvSpPr/>
          <p:nvPr/>
        </p:nvSpPr>
        <p:spPr>
          <a:xfrm>
            <a:off x="8275373" y="3656446"/>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1" name="Oval 20">
            <a:extLst>
              <a:ext uri="{FF2B5EF4-FFF2-40B4-BE49-F238E27FC236}">
                <a16:creationId xmlns:a16="http://schemas.microsoft.com/office/drawing/2014/main" id="{81281823-9EF7-1ACC-411D-CA3537A64FBD}"/>
              </a:ext>
            </a:extLst>
          </p:cNvPr>
          <p:cNvSpPr/>
          <p:nvPr/>
        </p:nvSpPr>
        <p:spPr>
          <a:xfrm>
            <a:off x="8275373" y="4974758"/>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03589" y="1822974"/>
            <a:ext cx="2948006" cy="669087"/>
          </a:xfrm>
          <a:prstGeom prst="rect">
            <a:avLst/>
          </a:prstGeom>
          <a:noFill/>
        </p:spPr>
        <p:txBody>
          <a:bodyPr wrap="square" lIns="0" rIns="0" rtlCol="0" anchor="ctr">
            <a:noAutofit/>
          </a:bodyPr>
          <a:lstStyle/>
          <a:p>
            <a:pPr lvl="0"/>
            <a:r>
              <a:rPr lang="en-GB" sz="1200" dirty="0">
                <a:solidFill>
                  <a:schemeClr val="tx1">
                    <a:lumMod val="50000"/>
                  </a:schemeClr>
                </a:solidFill>
                <a:effectLst/>
                <a:ea typeface="Times New Roman" panose="02020603050405020304" pitchFamily="18" charset="0"/>
              </a:rPr>
              <a:t>Growths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ASDA </a:t>
            </a:r>
            <a:r>
              <a:rPr lang="en-GB" sz="1200" i="1" dirty="0">
                <a:solidFill>
                  <a:schemeClr val="tx1">
                    <a:lumMod val="50000"/>
                  </a:schemeClr>
                </a:solidFill>
                <a:effectLst/>
                <a:latin typeface="Georgia" panose="02040502050405020303" pitchFamily="18" charset="0"/>
                <a:ea typeface="Times New Roman" panose="02020603050405020304" pitchFamily="18"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8.6%</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and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Sainsbury’s </a:t>
            </a:r>
            <a:r>
              <a:rPr lang="en-GB" sz="1200" i="1" dirty="0">
                <a:solidFill>
                  <a:schemeClr val="tx1">
                    <a:lumMod val="50000"/>
                  </a:schemeClr>
                </a:solidFill>
                <a:effectLst/>
                <a:latin typeface="Georgia" panose="02040502050405020303" pitchFamily="18" charset="0"/>
                <a:ea typeface="Times New Roman" panose="02020603050405020304" pitchFamily="18"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7.9%</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are still closely matched and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risons, </a:t>
            </a:r>
            <a:r>
              <a:rPr lang="en-GB" sz="1200" dirty="0">
                <a:solidFill>
                  <a:schemeClr val="tx1">
                    <a:lumMod val="50000"/>
                  </a:schemeClr>
                </a:solidFill>
                <a:effectLst/>
                <a:ea typeface="Times New Roman" panose="02020603050405020304" pitchFamily="18" charset="0"/>
              </a:rPr>
              <a:t>the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only</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retailer with a sales decline against this time last year</a:t>
            </a:r>
            <a:r>
              <a:rPr lang="en-GB" sz="1200" b="1" dirty="0">
                <a:solidFill>
                  <a:schemeClr val="tx1">
                    <a:lumMod val="50000"/>
                  </a:schemeClr>
                </a:solidFill>
                <a:effectLst/>
                <a:ea typeface="Times New Roman" panose="02020603050405020304" pitchFamily="18" charset="0"/>
              </a:rPr>
              <a:t> </a:t>
            </a:r>
            <a:r>
              <a:rPr lang="en-GB" sz="1200" i="1" dirty="0">
                <a:solidFill>
                  <a:schemeClr val="tx1">
                    <a:lumMod val="50000"/>
                  </a:schemeClr>
                </a:solidFill>
                <a:effectLst/>
                <a:latin typeface="Georgia" panose="02040502050405020303" pitchFamily="18" charset="0"/>
                <a:ea typeface="Times New Roman" panose="02020603050405020304" pitchFamily="18"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0.9%</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p>
          <a:p>
            <a:pPr lvl="0"/>
            <a:endParaRPr lang="en-GB" sz="1200" i="1" dirty="0">
              <a:solidFill>
                <a:schemeClr val="tx1">
                  <a:lumMod val="50000"/>
                </a:schemeClr>
              </a:solidFill>
              <a:latin typeface="Georgia" panose="02040502050405020303" pitchFamily="18" charset="0"/>
              <a:ea typeface="Times New Roman" panose="02020603050405020304" pitchFamily="18" charset="0"/>
            </a:endParaRPr>
          </a:p>
          <a:p>
            <a:pPr lvl="0"/>
            <a:r>
              <a:rPr lang="en-GB" sz="1200" dirty="0">
                <a:solidFill>
                  <a:schemeClr val="tx1">
                    <a:lumMod val="50000"/>
                  </a:schemeClr>
                </a:solidFill>
                <a:effectLst/>
                <a:ea typeface="Times New Roman" panose="02020603050405020304" pitchFamily="18" charset="0"/>
              </a:rPr>
              <a:t>Morrisons are attracting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e shoppers </a:t>
            </a:r>
            <a:r>
              <a:rPr lang="en-GB" sz="1200" dirty="0">
                <a:solidFill>
                  <a:schemeClr val="tx1">
                    <a:lumMod val="50000"/>
                  </a:schemeClr>
                </a:solidFill>
                <a:effectLst/>
                <a:ea typeface="Times New Roman" panose="02020603050405020304" pitchFamily="18" charset="0"/>
              </a:rPr>
              <a:t>and have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e visits </a:t>
            </a:r>
            <a:r>
              <a:rPr lang="en-GB" sz="1200" dirty="0">
                <a:solidFill>
                  <a:schemeClr val="tx1">
                    <a:lumMod val="50000"/>
                  </a:schemeClr>
                </a:solidFill>
                <a:effectLst/>
                <a:ea typeface="Times New Roman" panose="02020603050405020304" pitchFamily="18" charset="0"/>
              </a:rPr>
              <a:t>but the </a:t>
            </a:r>
            <a:r>
              <a:rPr lang="en-GB" sz="1200" b="1" dirty="0">
                <a:solidFill>
                  <a:schemeClr val="tx1">
                    <a:lumMod val="50000"/>
                  </a:schemeClr>
                </a:solidFill>
                <a:effectLst/>
                <a:latin typeface="Georgia" panose="02040502050405020303" pitchFamily="18" charset="0"/>
                <a:ea typeface="Times New Roman" panose="02020603050405020304" pitchFamily="18" charset="0"/>
              </a:rPr>
              <a:t>fall </a:t>
            </a:r>
            <a:r>
              <a:rPr lang="en-GB" sz="1200" dirty="0">
                <a:solidFill>
                  <a:schemeClr val="tx1">
                    <a:lumMod val="50000"/>
                  </a:schemeClr>
                </a:solidFill>
                <a:effectLst/>
                <a:latin typeface="Georgia" panose="02040502050405020303" pitchFamily="18" charset="0"/>
                <a:ea typeface="Times New Roman" panose="02020603050405020304" pitchFamily="18" charset="0"/>
              </a:rPr>
              <a:t>in sales</a:t>
            </a:r>
            <a:r>
              <a:rPr lang="en-GB" sz="1200" dirty="0">
                <a:solidFill>
                  <a:schemeClr val="tx1">
                    <a:lumMod val="50000"/>
                  </a:schemeClr>
                </a:solidFill>
                <a:effectLst/>
                <a:ea typeface="Times New Roman" panose="02020603050405020304" pitchFamily="18" charset="0"/>
              </a:rPr>
              <a:t> is being driven by a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big fall </a:t>
            </a:r>
            <a:r>
              <a:rPr lang="en-GB" sz="1200" dirty="0">
                <a:solidFill>
                  <a:schemeClr val="tx1">
                    <a:lumMod val="50000"/>
                  </a:schemeClr>
                </a:solidFill>
                <a:effectLst/>
                <a:ea typeface="Times New Roman" panose="02020603050405020304" pitchFamily="18" charset="0"/>
              </a:rPr>
              <a:t>in</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 spend per visit </a:t>
            </a:r>
            <a:r>
              <a:rPr lang="en-GB" sz="1200" b="1" dirty="0">
                <a:solidFill>
                  <a:schemeClr val="tx1">
                    <a:lumMod val="50000"/>
                  </a:schemeClr>
                </a:solidFill>
                <a:effectLst/>
                <a:ea typeface="Times New Roman" panose="02020603050405020304" pitchFamily="18" charset="0"/>
              </a:rPr>
              <a:t>–</a:t>
            </a:r>
            <a:r>
              <a:rPr lang="en-GB" sz="1200" dirty="0">
                <a:solidFill>
                  <a:schemeClr val="tx1">
                    <a:lumMod val="50000"/>
                  </a:schemeClr>
                </a:solidFill>
                <a:effectLst/>
                <a:ea typeface="Times New Roman" panose="02020603050405020304" pitchFamily="18" charset="0"/>
              </a:rPr>
              <a:t> from £25.4 a year ago to £22.1 which indicates that shoppers are currently holding back on their spending at Morrisons which will not have been helped by this month’s shortages. </a:t>
            </a:r>
          </a:p>
        </p:txBody>
      </p:sp>
      <p:sp>
        <p:nvSpPr>
          <p:cNvPr id="6" name="TextBox 5">
            <a:extLst>
              <a:ext uri="{FF2B5EF4-FFF2-40B4-BE49-F238E27FC236}">
                <a16:creationId xmlns:a16="http://schemas.microsoft.com/office/drawing/2014/main" id="{567891DD-D38E-8CFA-AFCB-19EDEC7BEF43}"/>
              </a:ext>
            </a:extLst>
          </p:cNvPr>
          <p:cNvSpPr txBox="1"/>
          <p:nvPr/>
        </p:nvSpPr>
        <p:spPr>
          <a:xfrm>
            <a:off x="4903632" y="5330608"/>
            <a:ext cx="3325969" cy="646331"/>
          </a:xfrm>
          <a:prstGeom prst="rect">
            <a:avLst/>
          </a:prstGeom>
          <a:noFill/>
        </p:spPr>
        <p:txBody>
          <a:bodyPr wrap="square">
            <a:spAutoFit/>
          </a:bodyPr>
          <a:lstStyle/>
          <a:p>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Iceland</a:t>
            </a:r>
            <a:r>
              <a:rPr lang="en-GB" sz="1200" b="1" dirty="0">
                <a:solidFill>
                  <a:schemeClr val="tx1">
                    <a:lumMod val="50000"/>
                  </a:schemeClr>
                </a:solidFill>
                <a:effectLst/>
                <a:latin typeface="+mj-lt"/>
                <a:ea typeface="Times New Roman" panose="02020603050405020304" pitchFamily="18" charset="0"/>
                <a:cs typeface="Times New Roman" panose="02020603050405020304" pitchFamily="18" charset="0"/>
              </a:rPr>
              <a:t> </a:t>
            </a:r>
            <a:r>
              <a:rPr lang="en-GB" sz="1200" dirty="0">
                <a:solidFill>
                  <a:schemeClr val="tx1">
                    <a:lumMod val="50000"/>
                  </a:schemeClr>
                </a:solidFill>
                <a:effectLst/>
                <a:latin typeface="+mj-lt"/>
                <a:ea typeface="Times New Roman" panose="02020603050405020304" pitchFamily="18" charset="0"/>
                <a:cs typeface="Times New Roman" panose="02020603050405020304" pitchFamily="18" charset="0"/>
              </a:rPr>
              <a:t>followed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9.1%) </a:t>
            </a:r>
            <a:r>
              <a:rPr lang="en-GB" sz="1200" dirty="0">
                <a:solidFill>
                  <a:schemeClr val="tx1">
                    <a:lumMod val="50000"/>
                  </a:schemeClr>
                </a:solidFill>
                <a:effectLst/>
                <a:latin typeface="+mj-lt"/>
                <a:ea typeface="Times New Roman" panose="02020603050405020304" pitchFamily="18" charset="0"/>
                <a:cs typeface="Times New Roman" panose="02020603050405020304" pitchFamily="18" charset="0"/>
              </a:rPr>
              <a:t>and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Co-op </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9.0%</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 </a:t>
            </a:r>
            <a:r>
              <a:rPr lang="en-GB" sz="1200" dirty="0">
                <a:solidFill>
                  <a:schemeClr val="tx1">
                    <a:lumMod val="50000"/>
                  </a:schemeClr>
                </a:solidFill>
                <a:effectLst/>
                <a:latin typeface="+mj-lt"/>
                <a:ea typeface="Times New Roman" panose="02020603050405020304" pitchFamily="18" charset="0"/>
                <a:cs typeface="Times New Roman" panose="02020603050405020304" pitchFamily="18" charset="0"/>
              </a:rPr>
              <a:t>with these two retailers benefiting from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Times New Roman" panose="02020603050405020304" pitchFamily="18" charset="0"/>
              </a:rPr>
              <a:t>mission-based shopping trips.</a:t>
            </a:r>
            <a:endParaRPr lang="en-GB" sz="1200" b="1" i="1" dirty="0">
              <a:solidFill>
                <a:schemeClr val="tx1">
                  <a:lumMod val="50000"/>
                </a:schemeClr>
              </a:solidFill>
              <a:latin typeface="Georgia" panose="02040502050405020303" pitchFamily="18" charset="0"/>
            </a:endParaRPr>
          </a:p>
        </p:txBody>
      </p:sp>
      <p:sp>
        <p:nvSpPr>
          <p:cNvPr id="30" name="TextBox 29">
            <a:extLst>
              <a:ext uri="{FF2B5EF4-FFF2-40B4-BE49-F238E27FC236}">
                <a16:creationId xmlns:a16="http://schemas.microsoft.com/office/drawing/2014/main" id="{1C9EF4A3-22C7-50BC-7A38-6AD1B3290528}"/>
              </a:ext>
            </a:extLst>
          </p:cNvPr>
          <p:cNvSpPr txBox="1"/>
          <p:nvPr/>
        </p:nvSpPr>
        <p:spPr>
          <a:xfrm>
            <a:off x="8915399" y="3614445"/>
            <a:ext cx="2958921" cy="1200329"/>
          </a:xfrm>
          <a:prstGeom prst="rect">
            <a:avLst/>
          </a:prstGeom>
          <a:noFill/>
        </p:spPr>
        <p:txBody>
          <a:bodyPr wrap="square">
            <a:spAutoFit/>
          </a:bodyPr>
          <a:lstStyle/>
          <a:p>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Waitrose (+2.5%</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are now back in growth and like all retailers, Waitrose are attracting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ew shoppers</a:t>
            </a:r>
            <a:r>
              <a:rPr lang="en-GB" sz="1200" i="1" dirty="0">
                <a:solidFill>
                  <a:schemeClr val="tx1">
                    <a:lumMod val="50000"/>
                  </a:schemeClr>
                </a:solidFill>
                <a:effectLst/>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but similar to Morrisons, also have a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decline</a:t>
            </a:r>
            <a:r>
              <a:rPr lang="en-GB" sz="1200" dirty="0">
                <a:solidFill>
                  <a:schemeClr val="tx1">
                    <a:lumMod val="50000"/>
                  </a:schemeClr>
                </a:solidFill>
                <a:effectLst/>
                <a:ea typeface="Times New Roman" panose="02020603050405020304" pitchFamily="18" charset="0"/>
                <a:cs typeface="Arial" panose="020B0604020202020204" pitchFamily="34" charset="0"/>
              </a:rPr>
              <a:t> in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pend per visit (-12%) </a:t>
            </a:r>
            <a:r>
              <a:rPr lang="en-GB" sz="1200" dirty="0">
                <a:solidFill>
                  <a:schemeClr val="tx1">
                    <a:lumMod val="50000"/>
                  </a:schemeClr>
                </a:solidFill>
                <a:effectLst/>
                <a:ea typeface="Times New Roman" panose="02020603050405020304" pitchFamily="18" charset="0"/>
                <a:cs typeface="Arial" panose="020B0604020202020204" pitchFamily="34" charset="0"/>
              </a:rPr>
              <a:t>with their shoppers spending more elsewhere</a:t>
            </a:r>
            <a:endParaRPr lang="en-GB" sz="1200" dirty="0">
              <a:solidFill>
                <a:schemeClr val="tx1">
                  <a:lumMod val="50000"/>
                </a:schemeClr>
              </a:solidFill>
            </a:endParaRPr>
          </a:p>
        </p:txBody>
      </p:sp>
      <p:sp>
        <p:nvSpPr>
          <p:cNvPr id="32" name="TextBox 31">
            <a:extLst>
              <a:ext uri="{FF2B5EF4-FFF2-40B4-BE49-F238E27FC236}">
                <a16:creationId xmlns:a16="http://schemas.microsoft.com/office/drawing/2014/main" id="{3E28464C-41A3-7FCA-AE96-90A0D08E4B34}"/>
              </a:ext>
            </a:extLst>
          </p:cNvPr>
          <p:cNvSpPr txBox="1"/>
          <p:nvPr/>
        </p:nvSpPr>
        <p:spPr>
          <a:xfrm>
            <a:off x="8851007" y="5011805"/>
            <a:ext cx="3055513" cy="1015663"/>
          </a:xfrm>
          <a:prstGeom prst="rect">
            <a:avLst/>
          </a:prstGeom>
          <a:noFill/>
        </p:spPr>
        <p:txBody>
          <a:bodyPr wrap="square">
            <a:spAutoFit/>
          </a:bodyPr>
          <a:lstStyle/>
          <a:p>
            <a:pPr lvl="0">
              <a:tabLst>
                <a:tab pos="685800" algn="l"/>
              </a:tabLst>
            </a:pP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Ocado </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4.7%</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ea typeface="Times New Roman" panose="02020603050405020304" pitchFamily="18" charset="0"/>
                <a:cs typeface="Arial" panose="020B0604020202020204" pitchFamily="34" charset="0"/>
              </a:rPr>
              <a:t>continue to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gain share </a:t>
            </a:r>
            <a:r>
              <a:rPr lang="en-GB" sz="1200" dirty="0">
                <a:solidFill>
                  <a:schemeClr val="tx1">
                    <a:lumMod val="50000"/>
                  </a:schemeClr>
                </a:solidFill>
                <a:effectLst/>
                <a:ea typeface="Times New Roman" panose="02020603050405020304" pitchFamily="18" charset="0"/>
                <a:cs typeface="Arial" panose="020B0604020202020204" pitchFamily="34" charset="0"/>
              </a:rPr>
              <a:t>within th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online market </a:t>
            </a:r>
            <a:r>
              <a:rPr lang="en-GB" sz="1200" dirty="0">
                <a:solidFill>
                  <a:schemeClr val="tx1">
                    <a:lumMod val="50000"/>
                  </a:schemeClr>
                </a:solidFill>
                <a:effectLst/>
                <a:ea typeface="Times New Roman" panose="02020603050405020304" pitchFamily="18" charset="0"/>
                <a:cs typeface="Arial" panose="020B0604020202020204" pitchFamily="34" charset="0"/>
              </a:rPr>
              <a:t>but all online retailers are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now losing out to stores</a:t>
            </a:r>
            <a:r>
              <a:rPr lang="en-GB" sz="1200" dirty="0">
                <a:solidFill>
                  <a:schemeClr val="tx1">
                    <a:lumMod val="50000"/>
                  </a:schemeClr>
                </a:solidFill>
                <a:effectLst/>
                <a:ea typeface="Times New Roman" panose="02020603050405020304" pitchFamily="18" charset="0"/>
                <a:cs typeface="Arial" panose="020B0604020202020204" pitchFamily="34" charset="0"/>
              </a:rPr>
              <a:t>, now that pandemic shopping behaviour is finally out of the comparatives.</a:t>
            </a:r>
            <a:endParaRPr lang="en-GB" sz="1200" dirty="0">
              <a:solidFill>
                <a:schemeClr val="tx1">
                  <a:lumMod val="50000"/>
                </a:schemeClr>
              </a:solidFill>
              <a:effectLst/>
              <a:ea typeface="Times New Roman" panose="02020603050405020304" pitchFamily="18" charset="0"/>
            </a:endParaRPr>
          </a:p>
        </p:txBody>
      </p:sp>
    </p:spTree>
    <p:extLst>
      <p:ext uri="{BB962C8B-B14F-4D97-AF65-F5344CB8AC3E}">
        <p14:creationId xmlns:p14="http://schemas.microsoft.com/office/powerpoint/2010/main" val="25125692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72272" y="3725937"/>
            <a:ext cx="3503952" cy="2390972"/>
          </a:xfrm>
        </p:spPr>
        <p:txBody>
          <a:bodyPr/>
          <a:lstStyle/>
          <a:p>
            <a:r>
              <a:rPr lang="en-US" sz="2400" dirty="0">
                <a:cs typeface="Arial"/>
              </a:rPr>
              <a:t>Only</a:t>
            </a:r>
            <a:r>
              <a:rPr lang="en-US" sz="2400" b="0" dirty="0">
                <a:latin typeface="Georgia" panose="02040502050405020303" pitchFamily="18" charset="0"/>
                <a:cs typeface="Arial"/>
              </a:rPr>
              <a:t> </a:t>
            </a:r>
            <a:r>
              <a:rPr lang="en-US" sz="2400" b="0" i="1" dirty="0">
                <a:latin typeface="Georgia" panose="02040502050405020303" pitchFamily="18" charset="0"/>
                <a:cs typeface="Arial"/>
              </a:rPr>
              <a:t>Aldi</a:t>
            </a:r>
            <a:r>
              <a:rPr lang="en-US" sz="2400" i="1" dirty="0">
                <a:latin typeface="Georgia" panose="02040502050405020303" pitchFamily="18" charset="0"/>
                <a:cs typeface="Arial"/>
              </a:rPr>
              <a:t> </a:t>
            </a:r>
            <a:r>
              <a:rPr lang="en-US" sz="2400" dirty="0">
                <a:cs typeface="Arial"/>
              </a:rPr>
              <a:t>has achieved significant growth on all </a:t>
            </a:r>
            <a:r>
              <a:rPr lang="en-US" sz="2400" b="0" i="1" dirty="0">
                <a:latin typeface="Georgia" panose="02040502050405020303" pitchFamily="18" charset="0"/>
                <a:cs typeface="Arial"/>
              </a:rPr>
              <a:t>3 KPI’s.</a:t>
            </a:r>
            <a:br>
              <a:rPr lang="en-US" sz="2400" b="0" i="1" dirty="0">
                <a:latin typeface="Georgia" panose="02040502050405020303" pitchFamily="18" charset="0"/>
                <a:cs typeface="Arial"/>
              </a:rPr>
            </a:br>
            <a:br>
              <a:rPr lang="en-US" sz="2400" i="1" dirty="0">
                <a:latin typeface="Georgia" panose="02040502050405020303" pitchFamily="18" charset="0"/>
                <a:cs typeface="Arial"/>
              </a:rPr>
            </a:br>
            <a:r>
              <a:rPr lang="en-US" sz="2400" b="0" i="1" dirty="0">
                <a:latin typeface="Georgia" panose="02040502050405020303" pitchFamily="18" charset="0"/>
                <a:cs typeface="Arial"/>
              </a:rPr>
              <a:t>Retailers </a:t>
            </a:r>
            <a:r>
              <a:rPr lang="en-US" sz="2400" dirty="0">
                <a:latin typeface="+mn-lt"/>
                <a:cs typeface="Arial"/>
              </a:rPr>
              <a:t>will need to attract</a:t>
            </a:r>
            <a:r>
              <a:rPr lang="en-US" sz="2400" b="0" dirty="0">
                <a:latin typeface="+mn-lt"/>
                <a:cs typeface="Arial"/>
              </a:rPr>
              <a:t> </a:t>
            </a:r>
            <a:r>
              <a:rPr lang="en-US" sz="2400" b="0" i="1" dirty="0">
                <a:latin typeface="Georgia" panose="02040502050405020303" pitchFamily="18" charset="0"/>
                <a:cs typeface="Arial"/>
              </a:rPr>
              <a:t>more shoppers </a:t>
            </a:r>
            <a:r>
              <a:rPr lang="en-US" sz="2400" dirty="0">
                <a:latin typeface="+mn-lt"/>
                <a:cs typeface="Arial"/>
              </a:rPr>
              <a:t>and </a:t>
            </a:r>
            <a:r>
              <a:rPr lang="en-US" sz="2400" b="0" i="1" dirty="0">
                <a:latin typeface="Georgia" panose="02040502050405020303" pitchFamily="18" charset="0"/>
                <a:cs typeface="Arial"/>
              </a:rPr>
              <a:t>more visits </a:t>
            </a:r>
            <a:r>
              <a:rPr lang="en-US" sz="2400" dirty="0">
                <a:latin typeface="+mn-lt"/>
                <a:cs typeface="Arial"/>
              </a:rPr>
              <a:t>if they are to</a:t>
            </a:r>
            <a:r>
              <a:rPr lang="en-US" sz="2400" i="1" dirty="0">
                <a:latin typeface="Georgia" panose="02040502050405020303" pitchFamily="18" charset="0"/>
                <a:cs typeface="Arial"/>
              </a:rPr>
              <a:t> </a:t>
            </a:r>
            <a:r>
              <a:rPr lang="en-US" sz="2400" b="0" i="1" dirty="0">
                <a:latin typeface="Georgia" panose="02040502050405020303" pitchFamily="18" charset="0"/>
                <a:cs typeface="Arial"/>
              </a:rPr>
              <a:t>grow share </a:t>
            </a:r>
            <a:r>
              <a:rPr lang="en-US" sz="2400" dirty="0">
                <a:latin typeface="+mn-lt"/>
                <a:cs typeface="Arial"/>
              </a:rPr>
              <a:t>and</a:t>
            </a:r>
            <a:r>
              <a:rPr lang="en-US" sz="2400" b="0" i="1" dirty="0">
                <a:latin typeface="Georgia" panose="02040502050405020303" pitchFamily="18" charset="0"/>
                <a:cs typeface="Arial"/>
              </a:rPr>
              <a:t> balance </a:t>
            </a:r>
            <a:r>
              <a:rPr lang="en-US" sz="2400" dirty="0">
                <a:latin typeface="+mn-lt"/>
                <a:cs typeface="Arial"/>
              </a:rPr>
              <a:t>the</a:t>
            </a:r>
            <a:r>
              <a:rPr lang="en-US" sz="2400" i="1" dirty="0">
                <a:latin typeface="Georgia" panose="02040502050405020303" pitchFamily="18" charset="0"/>
                <a:cs typeface="Arial"/>
              </a:rPr>
              <a:t> </a:t>
            </a:r>
            <a:r>
              <a:rPr lang="en-US" sz="2400" b="0" i="1" dirty="0">
                <a:latin typeface="Georgia" panose="02040502050405020303" pitchFamily="18" charset="0"/>
                <a:cs typeface="Arial"/>
              </a:rPr>
              <a:t>decline</a:t>
            </a:r>
            <a:r>
              <a:rPr lang="en-US" sz="2400" i="1" dirty="0">
                <a:latin typeface="Georgia" panose="02040502050405020303" pitchFamily="18" charset="0"/>
                <a:cs typeface="Arial"/>
              </a:rPr>
              <a:t> </a:t>
            </a:r>
            <a:r>
              <a:rPr lang="en-US" sz="2400" dirty="0">
                <a:latin typeface="+mn-lt"/>
                <a:cs typeface="Arial"/>
              </a:rPr>
              <a:t>in average</a:t>
            </a:r>
            <a:r>
              <a:rPr lang="en-US" sz="2400" i="1" dirty="0">
                <a:latin typeface="Georgia" panose="02040502050405020303" pitchFamily="18" charset="0"/>
                <a:cs typeface="Arial"/>
              </a:rPr>
              <a:t> </a:t>
            </a:r>
            <a:r>
              <a:rPr lang="en-US" sz="2400" b="0" i="1" dirty="0">
                <a:latin typeface="Georgia" panose="02040502050405020303" pitchFamily="18" charset="0"/>
                <a:cs typeface="Arial"/>
              </a:rPr>
              <a:t>basket size.</a:t>
            </a:r>
            <a:br>
              <a:rPr lang="en-US" sz="2400" b="0" i="1" dirty="0">
                <a:latin typeface="Georgia" panose="02040502050405020303" pitchFamily="18" charset="0"/>
                <a:cs typeface="Arial"/>
              </a:rPr>
            </a:br>
            <a:br>
              <a:rPr lang="en-US" sz="2400" i="1" dirty="0">
                <a:latin typeface="Georgia" panose="02040502050405020303" pitchFamily="18" charset="0"/>
                <a:cs typeface="Arial"/>
              </a:rPr>
            </a:br>
            <a:endParaRPr lang="en-US" i="1"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elsenIQ Homescan FMCG</a:t>
            </a: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4</a:t>
            </a:fld>
            <a:endParaRPr lang="en-US" dirty="0"/>
          </a:p>
        </p:txBody>
      </p:sp>
      <p:pic>
        <p:nvPicPr>
          <p:cNvPr id="7" name="Picture 6">
            <a:extLst>
              <a:ext uri="{FF2B5EF4-FFF2-40B4-BE49-F238E27FC236}">
                <a16:creationId xmlns:a16="http://schemas.microsoft.com/office/drawing/2014/main" id="{F02270A4-5F55-C560-2285-6E396849EEF8}"/>
              </a:ext>
            </a:extLst>
          </p:cNvPr>
          <p:cNvPicPr>
            <a:picLocks noChangeAspect="1"/>
          </p:cNvPicPr>
          <p:nvPr/>
        </p:nvPicPr>
        <p:blipFill>
          <a:blip r:embed="rId2"/>
          <a:stretch>
            <a:fillRect/>
          </a:stretch>
        </p:blipFill>
        <p:spPr>
          <a:xfrm>
            <a:off x="4439621" y="1654934"/>
            <a:ext cx="7320735" cy="3521567"/>
          </a:xfrm>
          <a:prstGeom prst="rect">
            <a:avLst/>
          </a:prstGeom>
        </p:spPr>
      </p:pic>
      <p:sp>
        <p:nvSpPr>
          <p:cNvPr id="8" name="TextBox 7">
            <a:extLst>
              <a:ext uri="{FF2B5EF4-FFF2-40B4-BE49-F238E27FC236}">
                <a16:creationId xmlns:a16="http://schemas.microsoft.com/office/drawing/2014/main" id="{CF6EFCF7-9756-4EC9-2B1D-C3089C3ED87D}"/>
              </a:ext>
            </a:extLst>
          </p:cNvPr>
          <p:cNvSpPr txBox="1"/>
          <p:nvPr/>
        </p:nvSpPr>
        <p:spPr>
          <a:xfrm>
            <a:off x="4564344" y="1451152"/>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spTree>
    <p:extLst>
      <p:ext uri="{BB962C8B-B14F-4D97-AF65-F5344CB8AC3E}">
        <p14:creationId xmlns:p14="http://schemas.microsoft.com/office/powerpoint/2010/main" val="14966737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56363" y="3275175"/>
            <a:ext cx="3503952" cy="2390972"/>
          </a:xfrm>
        </p:spPr>
        <p:txBody>
          <a:bodyPr/>
          <a:lstStyle/>
          <a:p>
            <a:r>
              <a:rPr lang="en-US" sz="2400" dirty="0">
                <a:latin typeface="Arial"/>
                <a:cs typeface="Arial"/>
              </a:rPr>
              <a:t>Most retailers have attracted </a:t>
            </a:r>
            <a:r>
              <a:rPr lang="en-US" sz="2400" b="0" i="1" dirty="0">
                <a:latin typeface="Georgia" panose="02040502050405020303" pitchFamily="18" charset="0"/>
                <a:cs typeface="Arial"/>
              </a:rPr>
              <a:t>more shoppers</a:t>
            </a:r>
            <a:r>
              <a:rPr lang="en-US" sz="2400" dirty="0">
                <a:latin typeface="Arial"/>
                <a:cs typeface="Arial"/>
              </a:rPr>
              <a:t> since the </a:t>
            </a:r>
            <a:r>
              <a:rPr lang="en-US" sz="2400" dirty="0">
                <a:latin typeface="Georgia" panose="02040502050405020303" pitchFamily="18" charset="0"/>
                <a:cs typeface="Arial"/>
              </a:rPr>
              <a:t>January dip.  </a:t>
            </a:r>
            <a:r>
              <a:rPr lang="en-US" sz="2400" b="0" i="1" dirty="0">
                <a:latin typeface="Georgia" panose="02040502050405020303" pitchFamily="18" charset="0"/>
                <a:cs typeface="Arial"/>
              </a:rPr>
              <a:t>Waitrose &amp; Co-op</a:t>
            </a:r>
            <a:r>
              <a:rPr lang="en-US" sz="2400" i="1" dirty="0">
                <a:latin typeface="Georgia" panose="02040502050405020303" pitchFamily="18" charset="0"/>
                <a:cs typeface="Arial"/>
              </a:rPr>
              <a:t> </a:t>
            </a:r>
            <a:r>
              <a:rPr lang="en-US" sz="2400" dirty="0">
                <a:latin typeface="+mn-lt"/>
                <a:cs typeface="Arial"/>
              </a:rPr>
              <a:t>are the exceptions</a:t>
            </a:r>
            <a:r>
              <a:rPr lang="en-US" sz="2400" b="0" dirty="0">
                <a:latin typeface="+mn-lt"/>
                <a:cs typeface="Arial"/>
              </a:rPr>
              <a:t>.</a:t>
            </a:r>
            <a:br>
              <a:rPr lang="en-US" sz="2400" b="0" dirty="0">
                <a:latin typeface="+mn-lt"/>
                <a:cs typeface="Arial"/>
              </a:rPr>
            </a:br>
            <a:br>
              <a:rPr lang="en-US" sz="2400" b="0" dirty="0">
                <a:latin typeface="+mn-lt"/>
                <a:cs typeface="Arial"/>
              </a:rPr>
            </a:br>
            <a:r>
              <a:rPr lang="en-US" sz="2400" dirty="0">
                <a:latin typeface="+mn-lt"/>
                <a:cs typeface="Arial"/>
              </a:rPr>
              <a:t>Attracting</a:t>
            </a:r>
            <a:r>
              <a:rPr lang="en-US" sz="2400" b="0" dirty="0">
                <a:latin typeface="+mn-lt"/>
                <a:cs typeface="Arial"/>
              </a:rPr>
              <a:t> </a:t>
            </a:r>
            <a:r>
              <a:rPr lang="en-US" sz="2400" b="0" i="1" dirty="0">
                <a:latin typeface="Georgia" panose="02040502050405020303" pitchFamily="18" charset="0"/>
                <a:cs typeface="Arial"/>
              </a:rPr>
              <a:t>more visits/orders</a:t>
            </a:r>
            <a:r>
              <a:rPr lang="en-US" sz="2400" b="0" dirty="0">
                <a:latin typeface="+mn-lt"/>
                <a:cs typeface="Arial"/>
              </a:rPr>
              <a:t> </a:t>
            </a:r>
            <a:r>
              <a:rPr lang="en-US" sz="2400" dirty="0">
                <a:latin typeface="+mn-lt"/>
                <a:cs typeface="Arial"/>
              </a:rPr>
              <a:t>is becoming increasingly important, only</a:t>
            </a:r>
            <a:r>
              <a:rPr lang="en-US" sz="2400" b="0" dirty="0">
                <a:latin typeface="+mn-lt"/>
                <a:cs typeface="Arial"/>
              </a:rPr>
              <a:t> </a:t>
            </a:r>
            <a:r>
              <a:rPr lang="en-US" sz="2400" b="0" i="1" dirty="0">
                <a:latin typeface="Georgia" panose="02040502050405020303" pitchFamily="18" charset="0"/>
                <a:cs typeface="Arial"/>
              </a:rPr>
              <a:t>Ocado</a:t>
            </a:r>
            <a:r>
              <a:rPr lang="en-US" sz="2400" b="0" dirty="0">
                <a:latin typeface="+mn-lt"/>
                <a:cs typeface="Arial"/>
              </a:rPr>
              <a:t> </a:t>
            </a:r>
            <a:r>
              <a:rPr lang="en-US" sz="2400" dirty="0">
                <a:latin typeface="+mn-lt"/>
                <a:cs typeface="Arial"/>
              </a:rPr>
              <a:t>lost out in February</a:t>
            </a:r>
            <a:r>
              <a:rPr lang="en-US" sz="2400" b="0" dirty="0">
                <a:latin typeface="+mn-lt"/>
                <a:cs typeface="Arial"/>
              </a:rPr>
              <a:t>.</a:t>
            </a:r>
            <a:endParaRPr lang="en-US" dirty="0"/>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else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685528619"/>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2532688308"/>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577370">
                  <a:extLst>
                    <a:ext uri="{9D8B030D-6E8A-4147-A177-3AD203B41FA5}">
                      <a16:colId xmlns:a16="http://schemas.microsoft.com/office/drawing/2014/main" val="459562343"/>
                    </a:ext>
                  </a:extLst>
                </a:gridCol>
                <a:gridCol w="577370">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9%</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5%</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25</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3 vs 4w/e 28</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anuar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extLst>
              <p:ext uri="{D42A27DB-BD31-4B8C-83A1-F6EECF244321}">
                <p14:modId xmlns:p14="http://schemas.microsoft.com/office/powerpoint/2010/main" val="1183207631"/>
              </p:ext>
            </p:extLst>
          </p:nvPr>
        </p:nvGraphicFramePr>
        <p:xfrm>
          <a:off x="4339049" y="1814086"/>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elsenIQ Total Till 12w/e 25</a:t>
            </a:r>
            <a:r>
              <a:rPr lang="en-GB" baseline="30000" dirty="0"/>
              <a:t>th</a:t>
            </a:r>
            <a:r>
              <a:rPr lang="en-GB" dirty="0"/>
              <a:t> February vs year ago, left hand side Homescan FMCG 12w/e growth Big 4 Supermarkets vs Discounters</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4925004"/>
            <a:chOff x="8021944" y="453342"/>
            <a:chExt cx="3991136" cy="4925004"/>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699611" y="1417048"/>
              <a:ext cx="1077814" cy="584775"/>
            </a:xfrm>
            <a:prstGeom prst="rect">
              <a:avLst/>
            </a:prstGeom>
            <a:noFill/>
          </p:spPr>
          <p:txBody>
            <a:bodyPr wrap="square">
              <a:spAutoFit/>
            </a:bodyPr>
            <a:lstStyle/>
            <a:p>
              <a:pPr algn="ctr"/>
              <a:r>
                <a:rPr kumimoji="0" lang="en-GB" sz="3200" b="1" i="1" u="none" strike="noStrike" kern="0" cap="none" spc="0" normalizeH="0" baseline="0" noProof="0" dirty="0">
                  <a:ln>
                    <a:noFill/>
                  </a:ln>
                  <a:solidFill>
                    <a:schemeClr val="bg1"/>
                  </a:solidFill>
                  <a:effectLst/>
                  <a:uLnTx/>
                  <a:uFillTx/>
                  <a:latin typeface="Georgia" panose="02040502050405020303" pitchFamily="18" charset="0"/>
                  <a:sym typeface="Montserrat"/>
                </a:rPr>
                <a:t>24%</a:t>
              </a:r>
              <a:endParaRPr lang="en-GB" sz="32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28563" y="1702964"/>
              <a:ext cx="1105538"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7</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290122" y="2700690"/>
              <a:ext cx="3447377" cy="2677656"/>
            </a:xfrm>
            <a:prstGeom prst="rect">
              <a:avLst/>
            </a:prstGeom>
            <a:noFill/>
          </p:spPr>
          <p:txBody>
            <a:bodyPr wrap="square">
              <a:spAutoFit/>
            </a:bodyPr>
            <a:lstStyle/>
            <a:p>
              <a:pPr algn="ctr"/>
              <a:r>
                <a:rPr lang="en-GB" sz="2400" b="1" i="1" dirty="0">
                  <a:solidFill>
                    <a:schemeClr val="bg1"/>
                  </a:solidFill>
                  <a:latin typeface="Georgia" panose="02040502050405020303" pitchFamily="18" charset="0"/>
                  <a:sym typeface="Montserrat"/>
                </a:rPr>
                <a:t>Discounters</a:t>
              </a:r>
              <a:r>
                <a:rPr lang="en-GB" sz="2400" i="1" dirty="0">
                  <a:solidFill>
                    <a:schemeClr val="bg1"/>
                  </a:solidFill>
                  <a:latin typeface="Georgia" panose="02040502050405020303" pitchFamily="18" charset="0"/>
                  <a:sym typeface="Montserrat"/>
                </a:rPr>
                <a:t> are currently growing </a:t>
              </a:r>
              <a:r>
                <a:rPr lang="en-GB" sz="2400" b="1" i="1" dirty="0">
                  <a:solidFill>
                    <a:schemeClr val="bg1"/>
                  </a:solidFill>
                  <a:latin typeface="Georgia" panose="02040502050405020303" pitchFamily="18" charset="0"/>
                  <a:sym typeface="Montserrat"/>
                </a:rPr>
                <a:t>3 times as fast</a:t>
              </a:r>
              <a:r>
                <a:rPr lang="en-GB" sz="2400" i="1" dirty="0">
                  <a:solidFill>
                    <a:schemeClr val="bg1"/>
                  </a:solidFill>
                  <a:latin typeface="Georgia" panose="02040502050405020303" pitchFamily="18" charset="0"/>
                  <a:sym typeface="Montserrat"/>
                </a:rPr>
                <a:t> as the </a:t>
              </a:r>
              <a:r>
                <a:rPr lang="en-GB" sz="2400" b="1" i="1" dirty="0">
                  <a:solidFill>
                    <a:schemeClr val="bg1"/>
                  </a:solidFill>
                  <a:latin typeface="Georgia" panose="02040502050405020303" pitchFamily="18" charset="0"/>
                  <a:sym typeface="Montserrat"/>
                </a:rPr>
                <a:t>Big 4</a:t>
              </a:r>
              <a:r>
                <a:rPr lang="en-GB" sz="2400" i="1" dirty="0">
                  <a:solidFill>
                    <a:schemeClr val="bg1"/>
                  </a:solidFill>
                  <a:latin typeface="Georgia" panose="02040502050405020303" pitchFamily="18" charset="0"/>
                  <a:sym typeface="Montserrat"/>
                </a:rPr>
                <a:t> Supermarkets and </a:t>
              </a:r>
              <a:r>
                <a:rPr lang="en-GB" sz="2400" b="1" i="1" dirty="0">
                  <a:solidFill>
                    <a:schemeClr val="bg1"/>
                  </a:solidFill>
                  <a:latin typeface="Georgia" panose="02040502050405020303" pitchFamily="18" charset="0"/>
                  <a:sym typeface="Montserrat"/>
                </a:rPr>
                <a:t>share</a:t>
              </a:r>
              <a:r>
                <a:rPr lang="en-GB" sz="2400" i="1" dirty="0">
                  <a:solidFill>
                    <a:schemeClr val="bg1"/>
                  </a:solidFill>
                  <a:latin typeface="Georgia" panose="02040502050405020303" pitchFamily="18" charset="0"/>
                  <a:sym typeface="Montserrat"/>
                </a:rPr>
                <a:t> of the </a:t>
              </a:r>
              <a:r>
                <a:rPr lang="en-GB" sz="2400" b="1" i="1" dirty="0">
                  <a:solidFill>
                    <a:schemeClr val="bg1"/>
                  </a:solidFill>
                  <a:latin typeface="Georgia" panose="02040502050405020303" pitchFamily="18" charset="0"/>
                  <a:sym typeface="Montserrat"/>
                </a:rPr>
                <a:t>big 4</a:t>
              </a:r>
              <a:r>
                <a:rPr lang="en-GB" sz="2400" i="1" dirty="0">
                  <a:solidFill>
                    <a:schemeClr val="bg1"/>
                  </a:solidFill>
                  <a:latin typeface="Georgia" panose="02040502050405020303" pitchFamily="18" charset="0"/>
                  <a:sym typeface="Montserrat"/>
                </a:rPr>
                <a:t> has fallen to it’s </a:t>
              </a:r>
              <a:r>
                <a:rPr lang="en-GB" sz="2400" b="1" i="1" dirty="0">
                  <a:solidFill>
                    <a:schemeClr val="bg1"/>
                  </a:solidFill>
                  <a:latin typeface="Georgia" panose="02040502050405020303" pitchFamily="18" charset="0"/>
                  <a:sym typeface="Montserrat"/>
                </a:rPr>
                <a:t>lowest level yet</a:t>
              </a:r>
              <a:r>
                <a:rPr lang="en-GB" sz="2400" i="1" dirty="0">
                  <a:solidFill>
                    <a:schemeClr val="bg1"/>
                  </a:solidFill>
                  <a:latin typeface="Georgia" panose="02040502050405020303" pitchFamily="18" charset="0"/>
                  <a:sym typeface="Montserrat"/>
                </a:rPr>
                <a:t>.  </a:t>
              </a:r>
              <a:endParaRPr lang="en-GB" sz="2400" i="1"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8831035" y="3402633"/>
              <a:ext cx="2547909" cy="369332"/>
            </a:xfrm>
            <a:prstGeom prst="rect">
              <a:avLst/>
            </a:prstGeom>
            <a:noFill/>
          </p:spPr>
          <p:txBody>
            <a:bodyPr wrap="square">
              <a:spAutoFit/>
            </a:bodyPr>
            <a:lstStyle/>
            <a:p>
              <a:pPr algn="ctr"/>
              <a:endParaRPr lang="en-GB" dirty="0">
                <a:solidFill>
                  <a:schemeClr val="bg1"/>
                </a:solidFill>
                <a:latin typeface="+mj-lt"/>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10530207" y="1571968"/>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3002387" y="521595"/>
            <a:ext cx="1073776" cy="246221"/>
          </a:xfrm>
          <a:prstGeom prst="rect">
            <a:avLst/>
          </a:prstGeom>
          <a:noFill/>
        </p:spPr>
        <p:txBody>
          <a:bodyPr wrap="square">
            <a:spAutoFit/>
          </a:bodyPr>
          <a:lstStyle/>
          <a:p>
            <a:r>
              <a:rPr lang="en-GB" sz="1000" dirty="0">
                <a:solidFill>
                  <a:schemeClr val="bg1"/>
                </a:solidFill>
                <a:latin typeface="+mj-lt"/>
                <a:sym typeface="Montserrat"/>
              </a:rPr>
              <a:t>FMCG growth</a:t>
            </a:r>
            <a:endParaRPr lang="en-GB" sz="1000"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trend</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14112" y="2072356"/>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228824858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7</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01437" y="2734263"/>
            <a:ext cx="3503952" cy="2390972"/>
          </a:xfrm>
        </p:spPr>
        <p:txBody>
          <a:bodyPr/>
          <a:lstStyle/>
          <a:p>
            <a:r>
              <a:rPr lang="en-US" dirty="0"/>
              <a:t>February messages focused on </a:t>
            </a:r>
            <a:r>
              <a:rPr lang="en-US" b="0" i="1" dirty="0">
                <a:latin typeface="Georgia" panose="02040502050405020303" pitchFamily="18" charset="0"/>
              </a:rPr>
              <a:t>Price, loyalty initiatives </a:t>
            </a:r>
            <a:r>
              <a:rPr lang="en-US" dirty="0"/>
              <a:t>and </a:t>
            </a:r>
            <a:r>
              <a:rPr lang="en-US" b="0" i="1" dirty="0">
                <a:latin typeface="Georgia" panose="02040502050405020303" pitchFamily="18" charset="0"/>
              </a:rPr>
              <a:t>meal deals</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b="1" dirty="0">
                <a:solidFill>
                  <a:schemeClr val="bg2"/>
                </a:solidFill>
                <a:latin typeface="Georgia" panose="02040502050405020303" pitchFamily="18" charset="0"/>
              </a:rPr>
              <a:t>February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78177" y="1596980"/>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16299"/>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401577" y="1616299"/>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844067" y="1563641"/>
            <a:ext cx="1640446" cy="369332"/>
          </a:xfrm>
          <a:prstGeom prst="rect">
            <a:avLst/>
          </a:prstGeom>
          <a:noFill/>
        </p:spPr>
        <p:txBody>
          <a:bodyPr wrap="square">
            <a:spAutoFit/>
          </a:bodyPr>
          <a:lstStyle/>
          <a:p>
            <a:pPr algn="ctr">
              <a:spcAft>
                <a:spcPts val="600"/>
              </a:spcAft>
            </a:pPr>
            <a:r>
              <a:rPr lang="en-US" b="1" dirty="0">
                <a:solidFill>
                  <a:schemeClr val="bg2"/>
                </a:solidFill>
                <a:latin typeface="+mj-lt"/>
              </a:rPr>
              <a:t>Price</a:t>
            </a:r>
          </a:p>
        </p:txBody>
      </p:sp>
      <p:sp>
        <p:nvSpPr>
          <p:cNvPr id="13" name="TextBox 12">
            <a:extLst>
              <a:ext uri="{FF2B5EF4-FFF2-40B4-BE49-F238E27FC236}">
                <a16:creationId xmlns:a16="http://schemas.microsoft.com/office/drawing/2014/main" id="{531626D5-6621-7E2F-4E2E-44214C995618}"/>
              </a:ext>
            </a:extLst>
          </p:cNvPr>
          <p:cNvSpPr txBox="1"/>
          <p:nvPr/>
        </p:nvSpPr>
        <p:spPr>
          <a:xfrm>
            <a:off x="7097870" y="1628035"/>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Frequenc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93340" y="1576519"/>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Meal Deals</a:t>
            </a:r>
          </a:p>
        </p:txBody>
      </p:sp>
      <p:pic>
        <p:nvPicPr>
          <p:cNvPr id="20" name="Picture 19">
            <a:extLst>
              <a:ext uri="{FF2B5EF4-FFF2-40B4-BE49-F238E27FC236}">
                <a16:creationId xmlns:a16="http://schemas.microsoft.com/office/drawing/2014/main" id="{C3F99E46-D117-963E-73A3-E2E50C811964}"/>
              </a:ext>
            </a:extLst>
          </p:cNvPr>
          <p:cNvPicPr>
            <a:picLocks noChangeAspect="1"/>
          </p:cNvPicPr>
          <p:nvPr/>
        </p:nvPicPr>
        <p:blipFill>
          <a:blip r:embed="rId2"/>
          <a:stretch>
            <a:fillRect/>
          </a:stretch>
        </p:blipFill>
        <p:spPr>
          <a:xfrm>
            <a:off x="4829599" y="3709113"/>
            <a:ext cx="1773586" cy="2234485"/>
          </a:xfrm>
          <a:prstGeom prst="rect">
            <a:avLst/>
          </a:prstGeom>
        </p:spPr>
      </p:pic>
      <p:pic>
        <p:nvPicPr>
          <p:cNvPr id="21" name="Picture 20">
            <a:extLst>
              <a:ext uri="{FF2B5EF4-FFF2-40B4-BE49-F238E27FC236}">
                <a16:creationId xmlns:a16="http://schemas.microsoft.com/office/drawing/2014/main" id="{BFCA89D3-16CF-B389-E0F6-FF4268550382}"/>
              </a:ext>
            </a:extLst>
          </p:cNvPr>
          <p:cNvPicPr>
            <a:picLocks noChangeAspect="1"/>
          </p:cNvPicPr>
          <p:nvPr/>
        </p:nvPicPr>
        <p:blipFill>
          <a:blip r:embed="rId3"/>
          <a:stretch>
            <a:fillRect/>
          </a:stretch>
        </p:blipFill>
        <p:spPr>
          <a:xfrm>
            <a:off x="4803369" y="3397016"/>
            <a:ext cx="560682" cy="296210"/>
          </a:xfrm>
          <a:prstGeom prst="rect">
            <a:avLst/>
          </a:prstGeom>
        </p:spPr>
      </p:pic>
      <p:pic>
        <p:nvPicPr>
          <p:cNvPr id="23" name="Picture 22">
            <a:extLst>
              <a:ext uri="{FF2B5EF4-FFF2-40B4-BE49-F238E27FC236}">
                <a16:creationId xmlns:a16="http://schemas.microsoft.com/office/drawing/2014/main" id="{FFFB41DE-D707-ABAF-3B9C-182B4CE9710C}"/>
              </a:ext>
            </a:extLst>
          </p:cNvPr>
          <p:cNvPicPr>
            <a:picLocks noChangeAspect="1"/>
          </p:cNvPicPr>
          <p:nvPr/>
        </p:nvPicPr>
        <p:blipFill>
          <a:blip r:embed="rId4"/>
          <a:stretch>
            <a:fillRect/>
          </a:stretch>
        </p:blipFill>
        <p:spPr>
          <a:xfrm>
            <a:off x="4524038" y="2253802"/>
            <a:ext cx="1128135" cy="1023871"/>
          </a:xfrm>
          <a:prstGeom prst="rect">
            <a:avLst/>
          </a:prstGeom>
        </p:spPr>
      </p:pic>
      <p:pic>
        <p:nvPicPr>
          <p:cNvPr id="25" name="Picture 24">
            <a:extLst>
              <a:ext uri="{FF2B5EF4-FFF2-40B4-BE49-F238E27FC236}">
                <a16:creationId xmlns:a16="http://schemas.microsoft.com/office/drawing/2014/main" id="{B1BBDBBB-D7D7-6BBF-1DE3-47723E915B95}"/>
              </a:ext>
            </a:extLst>
          </p:cNvPr>
          <p:cNvPicPr>
            <a:picLocks noChangeAspect="1"/>
          </p:cNvPicPr>
          <p:nvPr/>
        </p:nvPicPr>
        <p:blipFill>
          <a:blip r:embed="rId5"/>
          <a:stretch>
            <a:fillRect/>
          </a:stretch>
        </p:blipFill>
        <p:spPr>
          <a:xfrm>
            <a:off x="7437550" y="2105154"/>
            <a:ext cx="1249251" cy="3706472"/>
          </a:xfrm>
          <a:prstGeom prst="rect">
            <a:avLst/>
          </a:prstGeom>
        </p:spPr>
      </p:pic>
      <p:pic>
        <p:nvPicPr>
          <p:cNvPr id="27" name="Picture 26">
            <a:extLst>
              <a:ext uri="{FF2B5EF4-FFF2-40B4-BE49-F238E27FC236}">
                <a16:creationId xmlns:a16="http://schemas.microsoft.com/office/drawing/2014/main" id="{D6909F1B-C213-249C-4131-699F9A821F87}"/>
              </a:ext>
            </a:extLst>
          </p:cNvPr>
          <p:cNvPicPr>
            <a:picLocks noChangeAspect="1"/>
          </p:cNvPicPr>
          <p:nvPr/>
        </p:nvPicPr>
        <p:blipFill>
          <a:blip r:embed="rId6"/>
          <a:stretch>
            <a:fillRect/>
          </a:stretch>
        </p:blipFill>
        <p:spPr>
          <a:xfrm>
            <a:off x="5692462" y="2209665"/>
            <a:ext cx="1089807" cy="1074164"/>
          </a:xfrm>
          <a:prstGeom prst="rect">
            <a:avLst/>
          </a:prstGeom>
        </p:spPr>
      </p:pic>
      <p:pic>
        <p:nvPicPr>
          <p:cNvPr id="28" name="Picture 27">
            <a:extLst>
              <a:ext uri="{FF2B5EF4-FFF2-40B4-BE49-F238E27FC236}">
                <a16:creationId xmlns:a16="http://schemas.microsoft.com/office/drawing/2014/main" id="{7D3421B6-015D-7AB2-8DBD-1D0F4602E3C8}"/>
              </a:ext>
            </a:extLst>
          </p:cNvPr>
          <p:cNvPicPr>
            <a:picLocks noChangeAspect="1"/>
          </p:cNvPicPr>
          <p:nvPr/>
        </p:nvPicPr>
        <p:blipFill>
          <a:blip r:embed="rId7"/>
          <a:stretch>
            <a:fillRect/>
          </a:stretch>
        </p:blipFill>
        <p:spPr>
          <a:xfrm>
            <a:off x="6511284" y="3068184"/>
            <a:ext cx="309057" cy="236898"/>
          </a:xfrm>
          <a:prstGeom prst="rect">
            <a:avLst/>
          </a:prstGeom>
        </p:spPr>
      </p:pic>
      <p:pic>
        <p:nvPicPr>
          <p:cNvPr id="29" name="Content Placeholder 12">
            <a:extLst>
              <a:ext uri="{FF2B5EF4-FFF2-40B4-BE49-F238E27FC236}">
                <a16:creationId xmlns:a16="http://schemas.microsoft.com/office/drawing/2014/main" id="{86A2752D-C542-DF58-CE07-A79C9C1F9528}"/>
              </a:ext>
            </a:extLst>
          </p:cNvPr>
          <p:cNvPicPr>
            <a:picLocks noChangeAspect="1"/>
          </p:cNvPicPr>
          <p:nvPr/>
        </p:nvPicPr>
        <p:blipFill>
          <a:blip r:embed="rId8"/>
          <a:stretch>
            <a:fillRect/>
          </a:stretch>
        </p:blipFill>
        <p:spPr>
          <a:xfrm>
            <a:off x="9810300" y="3842299"/>
            <a:ext cx="1484473" cy="2089181"/>
          </a:xfrm>
          <a:prstGeom prst="rect">
            <a:avLst/>
          </a:prstGeom>
        </p:spPr>
      </p:pic>
      <p:pic>
        <p:nvPicPr>
          <p:cNvPr id="35" name="Picture 34">
            <a:extLst>
              <a:ext uri="{FF2B5EF4-FFF2-40B4-BE49-F238E27FC236}">
                <a16:creationId xmlns:a16="http://schemas.microsoft.com/office/drawing/2014/main" id="{3C335047-8BA6-26D0-DD3A-99992D4ECBFF}"/>
              </a:ext>
            </a:extLst>
          </p:cNvPr>
          <p:cNvPicPr>
            <a:picLocks noChangeAspect="1"/>
          </p:cNvPicPr>
          <p:nvPr/>
        </p:nvPicPr>
        <p:blipFill>
          <a:blip r:embed="rId9"/>
          <a:stretch>
            <a:fillRect/>
          </a:stretch>
        </p:blipFill>
        <p:spPr>
          <a:xfrm>
            <a:off x="10675715" y="2221740"/>
            <a:ext cx="992545" cy="732548"/>
          </a:xfrm>
          <a:prstGeom prst="rect">
            <a:avLst/>
          </a:prstGeom>
        </p:spPr>
      </p:pic>
      <p:pic>
        <p:nvPicPr>
          <p:cNvPr id="37" name="Picture 36">
            <a:extLst>
              <a:ext uri="{FF2B5EF4-FFF2-40B4-BE49-F238E27FC236}">
                <a16:creationId xmlns:a16="http://schemas.microsoft.com/office/drawing/2014/main" id="{18F1ECB9-9B3D-8937-685D-9408E4D6AD93}"/>
              </a:ext>
            </a:extLst>
          </p:cNvPr>
          <p:cNvPicPr>
            <a:picLocks noChangeAspect="1"/>
          </p:cNvPicPr>
          <p:nvPr/>
        </p:nvPicPr>
        <p:blipFill>
          <a:blip r:embed="rId10"/>
          <a:stretch>
            <a:fillRect/>
          </a:stretch>
        </p:blipFill>
        <p:spPr>
          <a:xfrm>
            <a:off x="9538282" y="3093210"/>
            <a:ext cx="2091341" cy="697114"/>
          </a:xfrm>
          <a:prstGeom prst="rect">
            <a:avLst/>
          </a:prstGeom>
        </p:spPr>
      </p:pic>
      <p:pic>
        <p:nvPicPr>
          <p:cNvPr id="39" name="Picture 38">
            <a:extLst>
              <a:ext uri="{FF2B5EF4-FFF2-40B4-BE49-F238E27FC236}">
                <a16:creationId xmlns:a16="http://schemas.microsoft.com/office/drawing/2014/main" id="{187786C9-6AB3-7A0D-79C5-481BF4B3BEC3}"/>
              </a:ext>
            </a:extLst>
          </p:cNvPr>
          <p:cNvPicPr>
            <a:picLocks noChangeAspect="1"/>
          </p:cNvPicPr>
          <p:nvPr/>
        </p:nvPicPr>
        <p:blipFill>
          <a:blip r:embed="rId11"/>
          <a:stretch>
            <a:fillRect/>
          </a:stretch>
        </p:blipFill>
        <p:spPr>
          <a:xfrm>
            <a:off x="9558940" y="2080360"/>
            <a:ext cx="930901" cy="846967"/>
          </a:xfrm>
          <a:prstGeom prst="rect">
            <a:avLst/>
          </a:prstGeom>
        </p:spPr>
      </p:pic>
      <p:pic>
        <p:nvPicPr>
          <p:cNvPr id="40" name="Picture 39">
            <a:extLst>
              <a:ext uri="{FF2B5EF4-FFF2-40B4-BE49-F238E27FC236}">
                <a16:creationId xmlns:a16="http://schemas.microsoft.com/office/drawing/2014/main" id="{986CD0B2-9904-AD77-950B-550E73597489}"/>
              </a:ext>
            </a:extLst>
          </p:cNvPr>
          <p:cNvPicPr>
            <a:picLocks noChangeAspect="1"/>
          </p:cNvPicPr>
          <p:nvPr/>
        </p:nvPicPr>
        <p:blipFill>
          <a:blip r:embed="rId12"/>
          <a:stretch>
            <a:fillRect/>
          </a:stretch>
        </p:blipFill>
        <p:spPr>
          <a:xfrm>
            <a:off x="10647166" y="1960472"/>
            <a:ext cx="461361" cy="259688"/>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04847" y="2412291"/>
            <a:ext cx="3503952" cy="2390972"/>
          </a:xfrm>
        </p:spPr>
        <p:txBody>
          <a:bodyPr/>
          <a:lstStyle/>
          <a:p>
            <a:r>
              <a:rPr lang="en-US" sz="2400" dirty="0">
                <a:latin typeface="Arial"/>
                <a:cs typeface="Arial"/>
              </a:rPr>
              <a:t>Spend on offer was in line with previous February’s and </a:t>
            </a:r>
            <a:r>
              <a:rPr lang="en-US" sz="2400" b="0" i="1" dirty="0">
                <a:latin typeface="Georgia" panose="02040502050405020303" pitchFamily="18" charset="0"/>
                <a:cs typeface="Arial"/>
              </a:rPr>
              <a:t>increased</a:t>
            </a:r>
            <a:r>
              <a:rPr lang="en-US" sz="2400" dirty="0">
                <a:latin typeface="Arial"/>
                <a:cs typeface="Arial"/>
              </a:rPr>
              <a:t> on last month, as </a:t>
            </a:r>
            <a:r>
              <a:rPr lang="en-US" sz="2400" b="0" i="1" dirty="0">
                <a:latin typeface="Georgia" panose="02040502050405020303" pitchFamily="18" charset="0"/>
                <a:cs typeface="Arial"/>
              </a:rPr>
              <a:t>Valentine’s Day </a:t>
            </a:r>
            <a:r>
              <a:rPr lang="en-US" sz="2400" dirty="0">
                <a:latin typeface="Arial"/>
                <a:cs typeface="Arial"/>
              </a:rPr>
              <a:t>meal deals and early </a:t>
            </a:r>
            <a:r>
              <a:rPr lang="en-US" sz="2400" b="0" i="1" dirty="0">
                <a:latin typeface="Georgia" panose="02040502050405020303" pitchFamily="18" charset="0"/>
                <a:cs typeface="Arial"/>
              </a:rPr>
              <a:t>Easter</a:t>
            </a:r>
            <a:r>
              <a:rPr lang="en-US" sz="2400" dirty="0">
                <a:latin typeface="Arial"/>
                <a:cs typeface="Arial"/>
              </a:rPr>
              <a:t> </a:t>
            </a:r>
            <a:r>
              <a:rPr lang="en-US" sz="2400" b="0" i="1" dirty="0">
                <a:latin typeface="Georgia" panose="02040502050405020303" pitchFamily="18" charset="0"/>
                <a:cs typeface="Arial"/>
              </a:rPr>
              <a:t>offers</a:t>
            </a:r>
            <a:r>
              <a:rPr lang="en-US" sz="2400" dirty="0">
                <a:latin typeface="Arial"/>
                <a:cs typeface="Arial"/>
              </a:rPr>
              <a:t> helped to drive </a:t>
            </a:r>
            <a:r>
              <a:rPr lang="en-US" sz="2400" b="0" i="1" dirty="0">
                <a:latin typeface="Georgia" panose="02040502050405020303" pitchFamily="18" charset="0"/>
                <a:cs typeface="Arial"/>
              </a:rPr>
              <a:t>more sales </a:t>
            </a:r>
            <a:r>
              <a:rPr lang="en-US" sz="2400" dirty="0">
                <a:latin typeface="Arial"/>
                <a:cs typeface="Arial"/>
              </a:rPr>
              <a:t>and </a:t>
            </a:r>
            <a:r>
              <a:rPr lang="en-US" sz="2400" b="0" i="1" dirty="0">
                <a:latin typeface="Georgia" panose="02040502050405020303" pitchFamily="18" charset="0"/>
                <a:cs typeface="Arial"/>
              </a:rPr>
              <a:t>shoppers</a:t>
            </a:r>
            <a:r>
              <a:rPr lang="en-US" sz="2400" dirty="0">
                <a:latin typeface="Arial"/>
                <a:cs typeface="Arial"/>
              </a:rPr>
              <a:t> to store.</a:t>
            </a:r>
            <a:endParaRPr lang="en-US" dirty="0"/>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else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368768683"/>
              </p:ext>
            </p:extLst>
          </p:nvPr>
        </p:nvGraphicFramePr>
        <p:xfrm>
          <a:off x="4687909" y="1997654"/>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7706510" y="5598253"/>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7700388" y="5658310"/>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683260" y="5661643"/>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628178" y="560483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C7A6B9-B699-12CE-0B33-645B2C762EBD}"/>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11" name="Content Placeholder 10">
            <a:extLst>
              <a:ext uri="{FF2B5EF4-FFF2-40B4-BE49-F238E27FC236}">
                <a16:creationId xmlns:a16="http://schemas.microsoft.com/office/drawing/2014/main" id="{80FE2C2F-5490-6B12-CAC7-214C176E7174}"/>
              </a:ext>
            </a:extLst>
          </p:cNvPr>
          <p:cNvSpPr>
            <a:spLocks noGrp="1"/>
          </p:cNvSpPr>
          <p:nvPr>
            <p:ph idx="14"/>
          </p:nvPr>
        </p:nvSpPr>
        <p:spPr>
          <a:xfrm>
            <a:off x="4501599" y="2380938"/>
            <a:ext cx="3684352" cy="2904031"/>
          </a:xfrm>
        </p:spPr>
        <p:txBody>
          <a:bodyPr/>
          <a:lstStyle/>
          <a:p>
            <a:r>
              <a:rPr lang="en-GB" sz="1600" dirty="0">
                <a:effectLst/>
                <a:ea typeface="Times New Roman" panose="02020603050405020304" pitchFamily="18" charset="0"/>
                <a:cs typeface="Times New Roman" panose="02020603050405020304" pitchFamily="18" charset="0"/>
              </a:rPr>
              <a:t>Strong growth at the </a:t>
            </a:r>
            <a:r>
              <a:rPr lang="en-GB" sz="1600" b="1" dirty="0">
                <a:effectLst/>
                <a:ea typeface="Times New Roman" panose="02020603050405020304" pitchFamily="18" charset="0"/>
                <a:cs typeface="Times New Roman" panose="02020603050405020304" pitchFamily="18" charset="0"/>
              </a:rPr>
              <a:t>Discounters </a:t>
            </a:r>
            <a:r>
              <a:rPr lang="en-GB" sz="1600" dirty="0">
                <a:effectLst/>
                <a:ea typeface="Times New Roman" panose="02020603050405020304" pitchFamily="18" charset="0"/>
                <a:cs typeface="Times New Roman" panose="02020603050405020304" pitchFamily="18" charset="0"/>
              </a:rPr>
              <a:t>was helped by new store openings and new shoppers which led to a </a:t>
            </a:r>
            <a:r>
              <a:rPr lang="en-GB" sz="1600" b="1" dirty="0">
                <a:effectLst/>
                <a:ea typeface="Times New Roman" panose="02020603050405020304" pitchFamily="18" charset="0"/>
                <a:cs typeface="Times New Roman" panose="02020603050405020304" pitchFamily="18" charset="0"/>
              </a:rPr>
              <a:t>20% increase in visits</a:t>
            </a:r>
            <a:r>
              <a:rPr lang="en-GB" sz="1600" dirty="0">
                <a:effectLst/>
                <a:ea typeface="Times New Roman" panose="02020603050405020304" pitchFamily="18" charset="0"/>
                <a:cs typeface="Times New Roman" panose="02020603050405020304" pitchFamily="18" charset="0"/>
              </a:rPr>
              <a:t>.</a:t>
            </a:r>
          </a:p>
          <a:p>
            <a:endParaRPr lang="en-US" dirty="0"/>
          </a:p>
          <a:p>
            <a:r>
              <a:rPr lang="en-GB" sz="1600" dirty="0">
                <a:effectLst/>
                <a:ea typeface="Times New Roman" panose="02020603050405020304" pitchFamily="18" charset="0"/>
                <a:cs typeface="Times New Roman" panose="02020603050405020304" pitchFamily="18" charset="0"/>
              </a:rPr>
              <a:t>The number of shoppers looking to save money continues to widen* and with so much </a:t>
            </a:r>
            <a:r>
              <a:rPr lang="en-GB" sz="1600" b="1" dirty="0">
                <a:effectLst/>
                <a:ea typeface="Times New Roman" panose="02020603050405020304" pitchFamily="18" charset="0"/>
                <a:cs typeface="Times New Roman" panose="02020603050405020304" pitchFamily="18" charset="0"/>
              </a:rPr>
              <a:t>focus</a:t>
            </a:r>
            <a:r>
              <a:rPr lang="en-GB" sz="1600" dirty="0">
                <a:effectLst/>
                <a:ea typeface="Times New Roman" panose="02020603050405020304" pitchFamily="18" charset="0"/>
                <a:cs typeface="Times New Roman" panose="02020603050405020304" pitchFamily="18" charset="0"/>
              </a:rPr>
              <a:t> on ‘</a:t>
            </a:r>
            <a:r>
              <a:rPr lang="en-GB" sz="1600" b="1" dirty="0">
                <a:effectLst/>
                <a:ea typeface="Times New Roman" panose="02020603050405020304" pitchFamily="18" charset="0"/>
                <a:cs typeface="Times New Roman" panose="02020603050405020304" pitchFamily="18" charset="0"/>
              </a:rPr>
              <a:t>price’</a:t>
            </a:r>
            <a:r>
              <a:rPr lang="en-GB" sz="1600" dirty="0">
                <a:effectLst/>
                <a:ea typeface="Times New Roman" panose="02020603050405020304" pitchFamily="18" charset="0"/>
                <a:cs typeface="Times New Roman" panose="02020603050405020304" pitchFamily="18" charset="0"/>
              </a:rPr>
              <a:t>, the </a:t>
            </a:r>
            <a:r>
              <a:rPr lang="en-GB" sz="1600" b="1" dirty="0">
                <a:effectLst/>
                <a:ea typeface="Times New Roman" panose="02020603050405020304" pitchFamily="18" charset="0"/>
                <a:cs typeface="Times New Roman" panose="02020603050405020304" pitchFamily="18" charset="0"/>
              </a:rPr>
              <a:t>Discounters </a:t>
            </a:r>
            <a:r>
              <a:rPr lang="en-GB" sz="1600" dirty="0">
                <a:effectLst/>
                <a:ea typeface="Times New Roman" panose="02020603050405020304" pitchFamily="18" charset="0"/>
                <a:cs typeface="Times New Roman" panose="02020603050405020304" pitchFamily="18" charset="0"/>
              </a:rPr>
              <a:t>are rarely out of the headlines and have become the </a:t>
            </a:r>
            <a:r>
              <a:rPr lang="en-GB" sz="1600" b="1" dirty="0">
                <a:effectLst/>
                <a:ea typeface="Times New Roman" panose="02020603050405020304" pitchFamily="18" charset="0"/>
                <a:cs typeface="Times New Roman" panose="02020603050405020304" pitchFamily="18" charset="0"/>
              </a:rPr>
              <a:t>nation’s barometer on this metric.</a:t>
            </a:r>
            <a:endParaRPr lang="en-GB" sz="1600" dirty="0">
              <a:effectLst/>
              <a:ea typeface="Times New Roman" panose="02020603050405020304" pitchFamily="18" charset="0"/>
              <a:cs typeface="Times New Roman" panose="02020603050405020304" pitchFamily="18" charset="0"/>
            </a:endParaRPr>
          </a:p>
          <a:p>
            <a:endParaRPr lang="en-US" dirty="0"/>
          </a:p>
        </p:txBody>
      </p:sp>
      <p:sp>
        <p:nvSpPr>
          <p:cNvPr id="12" name="Content Placeholder 11">
            <a:extLst>
              <a:ext uri="{FF2B5EF4-FFF2-40B4-BE49-F238E27FC236}">
                <a16:creationId xmlns:a16="http://schemas.microsoft.com/office/drawing/2014/main" id="{0B05A680-48C9-A622-AA4C-B863E5FD675D}"/>
              </a:ext>
            </a:extLst>
          </p:cNvPr>
          <p:cNvSpPr>
            <a:spLocks noGrp="1"/>
          </p:cNvSpPr>
          <p:nvPr>
            <p:ph idx="15"/>
          </p:nvPr>
        </p:nvSpPr>
        <p:spPr>
          <a:xfrm>
            <a:off x="8502139" y="2445332"/>
            <a:ext cx="3328365" cy="2904031"/>
          </a:xfrm>
        </p:spPr>
        <p:txBody>
          <a:bodyPr/>
          <a:lstStyle/>
          <a:p>
            <a:r>
              <a:rPr lang="en-US" sz="1600" kern="0" dirty="0"/>
              <a:t>Shoppers did </a:t>
            </a:r>
            <a:r>
              <a:rPr lang="en-US" sz="1600" b="1" kern="0" dirty="0"/>
              <a:t>trade up </a:t>
            </a:r>
            <a:r>
              <a:rPr lang="en-US" sz="1600" kern="0" dirty="0"/>
              <a:t>for loved ones and sales improved in some gifting, beauty and treat categories.</a:t>
            </a:r>
          </a:p>
          <a:p>
            <a:r>
              <a:rPr lang="en-US" sz="1600" b="1" kern="0" dirty="0"/>
              <a:t>M&amp;S </a:t>
            </a:r>
            <a:r>
              <a:rPr lang="en-US" sz="1600" kern="0" dirty="0"/>
              <a:t>continues to have momentum, and </a:t>
            </a:r>
            <a:r>
              <a:rPr lang="en-US" sz="1600" b="1" kern="0" dirty="0"/>
              <a:t>ranked 3</a:t>
            </a:r>
            <a:r>
              <a:rPr lang="en-US" sz="1600" b="1" kern="0" baseline="30000" dirty="0"/>
              <a:t>rd</a:t>
            </a:r>
            <a:r>
              <a:rPr lang="en-US" sz="1600" b="1" kern="0" dirty="0"/>
              <a:t> </a:t>
            </a:r>
            <a:r>
              <a:rPr lang="en-US" sz="1600" kern="0" dirty="0"/>
              <a:t>behind the discounters.</a:t>
            </a:r>
          </a:p>
          <a:p>
            <a:r>
              <a:rPr lang="en-US" sz="1600" b="1" kern="0" dirty="0"/>
              <a:t>Supply chain </a:t>
            </a:r>
            <a:r>
              <a:rPr lang="en-US" sz="1600" kern="0" dirty="0"/>
              <a:t>issues proved a </a:t>
            </a:r>
            <a:r>
              <a:rPr lang="en-US" sz="1600" b="1" kern="0" dirty="0"/>
              <a:t>challenge</a:t>
            </a:r>
            <a:r>
              <a:rPr lang="en-US" sz="1600" kern="0" dirty="0"/>
              <a:t> for a number of ‘</a:t>
            </a:r>
            <a:r>
              <a:rPr lang="en-US" sz="1600" b="1" kern="0" dirty="0"/>
              <a:t>salad</a:t>
            </a:r>
            <a:r>
              <a:rPr lang="en-US" sz="1600" kern="0" dirty="0"/>
              <a:t>’ categories.</a:t>
            </a:r>
          </a:p>
          <a:p>
            <a:r>
              <a:rPr lang="en-US" sz="1600" b="1" kern="0" dirty="0"/>
              <a:t>Shopper loyalty </a:t>
            </a:r>
            <a:r>
              <a:rPr lang="en-US" sz="1600" kern="0" dirty="0"/>
              <a:t>remains challenging as retailers will </a:t>
            </a:r>
            <a:r>
              <a:rPr lang="en-US" sz="1600" b="1" kern="0" dirty="0"/>
              <a:t>need to attract more shoppers</a:t>
            </a:r>
            <a:r>
              <a:rPr lang="en-US" sz="1600" kern="0" dirty="0"/>
              <a:t> to help mitigate the trend towards smaller  baskets.</a:t>
            </a:r>
          </a:p>
          <a:p>
            <a:endParaRPr lang="en-US" dirty="0"/>
          </a:p>
          <a:p>
            <a:endParaRPr lang="en-US" dirty="0"/>
          </a:p>
          <a:p>
            <a:endParaRPr lang="en-US" dirty="0"/>
          </a:p>
        </p:txBody>
      </p:sp>
      <p:sp>
        <p:nvSpPr>
          <p:cNvPr id="6" name="Title 5">
            <a:extLst>
              <a:ext uri="{FF2B5EF4-FFF2-40B4-BE49-F238E27FC236}">
                <a16:creationId xmlns:a16="http://schemas.microsoft.com/office/drawing/2014/main" id="{B1B92601-253A-87F9-D3D1-0B2AB6598064}"/>
              </a:ext>
            </a:extLst>
          </p:cNvPr>
          <p:cNvSpPr>
            <a:spLocks noGrp="1"/>
          </p:cNvSpPr>
          <p:nvPr>
            <p:ph type="title"/>
          </p:nvPr>
        </p:nvSpPr>
        <p:spPr/>
        <p:txBody>
          <a:bodyPr/>
          <a:lstStyle/>
          <a:p>
            <a:r>
              <a:rPr lang="en-US" dirty="0"/>
              <a:t>Value growths accelerated in February but unit growths remain negative</a:t>
            </a:r>
          </a:p>
        </p:txBody>
      </p:sp>
      <p:cxnSp>
        <p:nvCxnSpPr>
          <p:cNvPr id="8" name="Straight Connector 7">
            <a:extLst>
              <a:ext uri="{FF2B5EF4-FFF2-40B4-BE49-F238E27FC236}">
                <a16:creationId xmlns:a16="http://schemas.microsoft.com/office/drawing/2014/main" id="{25E055BD-8B03-73FA-3A04-C56951C742BF}"/>
              </a:ext>
            </a:extLst>
          </p:cNvPr>
          <p:cNvCxnSpPr>
            <a:cxnSpLocks/>
          </p:cNvCxnSpPr>
          <p:nvPr/>
        </p:nvCxnSpPr>
        <p:spPr>
          <a:xfrm>
            <a:off x="288558" y="2148231"/>
            <a:ext cx="11582399" cy="3115"/>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801F09E-CBBF-4A66-C512-0998674D4A74}"/>
              </a:ext>
            </a:extLst>
          </p:cNvPr>
          <p:cNvSpPr/>
          <p:nvPr/>
        </p:nvSpPr>
        <p:spPr>
          <a:xfrm>
            <a:off x="288558" y="204787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Oval 16">
            <a:extLst>
              <a:ext uri="{FF2B5EF4-FFF2-40B4-BE49-F238E27FC236}">
                <a16:creationId xmlns:a16="http://schemas.microsoft.com/office/drawing/2014/main" id="{2991D701-915C-30F2-E275-32BED81E6354}"/>
              </a:ext>
            </a:extLst>
          </p:cNvPr>
          <p:cNvSpPr/>
          <p:nvPr/>
        </p:nvSpPr>
        <p:spPr>
          <a:xfrm>
            <a:off x="4223969" y="204787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24" name="Text Placeholder 12">
            <a:extLst>
              <a:ext uri="{FF2B5EF4-FFF2-40B4-BE49-F238E27FC236}">
                <a16:creationId xmlns:a16="http://schemas.microsoft.com/office/drawing/2014/main" id="{79D2454F-32B4-C67B-8DC4-3C77A3B691DD}"/>
              </a:ext>
            </a:extLst>
          </p:cNvPr>
          <p:cNvSpPr txBox="1">
            <a:spLocks/>
          </p:cNvSpPr>
          <p:nvPr/>
        </p:nvSpPr>
        <p:spPr>
          <a:xfrm>
            <a:off x="314316" y="1585869"/>
            <a:ext cx="310310" cy="487630"/>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0" dirty="0">
                <a:solidFill>
                  <a:schemeClr val="tx1"/>
                </a:solidFill>
                <a:latin typeface="Georgia" panose="02040502050405020303" pitchFamily="18" charset="0"/>
              </a:rPr>
              <a:t>1</a:t>
            </a:r>
          </a:p>
        </p:txBody>
      </p:sp>
      <p:sp>
        <p:nvSpPr>
          <p:cNvPr id="25" name="Text Placeholder 13">
            <a:extLst>
              <a:ext uri="{FF2B5EF4-FFF2-40B4-BE49-F238E27FC236}">
                <a16:creationId xmlns:a16="http://schemas.microsoft.com/office/drawing/2014/main" id="{4336EFDF-100A-C405-B69F-A7C47CBA9D86}"/>
              </a:ext>
            </a:extLst>
          </p:cNvPr>
          <p:cNvSpPr txBox="1">
            <a:spLocks/>
          </p:cNvSpPr>
          <p:nvPr/>
        </p:nvSpPr>
        <p:spPr>
          <a:xfrm>
            <a:off x="4205385" y="1637384"/>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0" dirty="0">
                <a:solidFill>
                  <a:schemeClr val="tx1"/>
                </a:solidFill>
                <a:latin typeface="Georgia" panose="02040502050405020303" pitchFamily="18" charset="0"/>
              </a:rPr>
              <a:t>2</a:t>
            </a:r>
          </a:p>
        </p:txBody>
      </p:sp>
      <p:sp>
        <p:nvSpPr>
          <p:cNvPr id="26" name="Text Placeholder 14">
            <a:extLst>
              <a:ext uri="{FF2B5EF4-FFF2-40B4-BE49-F238E27FC236}">
                <a16:creationId xmlns:a16="http://schemas.microsoft.com/office/drawing/2014/main" id="{0AD8D1FD-2213-24F5-B3F3-5F94BA538C5D}"/>
              </a:ext>
            </a:extLst>
          </p:cNvPr>
          <p:cNvSpPr txBox="1">
            <a:spLocks/>
          </p:cNvSpPr>
          <p:nvPr/>
        </p:nvSpPr>
        <p:spPr>
          <a:xfrm>
            <a:off x="8173726" y="1618066"/>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0" dirty="0">
                <a:solidFill>
                  <a:schemeClr val="tx1"/>
                </a:solidFill>
                <a:latin typeface="Georgia" panose="02040502050405020303" pitchFamily="18" charset="0"/>
              </a:rPr>
              <a:t>3</a:t>
            </a:r>
          </a:p>
        </p:txBody>
      </p:sp>
      <p:sp>
        <p:nvSpPr>
          <p:cNvPr id="27" name="Oval 26">
            <a:extLst>
              <a:ext uri="{FF2B5EF4-FFF2-40B4-BE49-F238E27FC236}">
                <a16:creationId xmlns:a16="http://schemas.microsoft.com/office/drawing/2014/main" id="{96A67C41-BAD9-2989-C8C3-1373F19FF69D}"/>
              </a:ext>
            </a:extLst>
          </p:cNvPr>
          <p:cNvSpPr/>
          <p:nvPr/>
        </p:nvSpPr>
        <p:spPr>
          <a:xfrm>
            <a:off x="8182652" y="204787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4" name="Content Placeholder 13">
            <a:extLst>
              <a:ext uri="{FF2B5EF4-FFF2-40B4-BE49-F238E27FC236}">
                <a16:creationId xmlns:a16="http://schemas.microsoft.com/office/drawing/2014/main" id="{4A274921-8D35-6DE0-E16D-9661F3DD308B}"/>
              </a:ext>
            </a:extLst>
          </p:cNvPr>
          <p:cNvSpPr>
            <a:spLocks noGrp="1"/>
          </p:cNvSpPr>
          <p:nvPr>
            <p:ph idx="1"/>
          </p:nvPr>
        </p:nvSpPr>
        <p:spPr>
          <a:xfrm>
            <a:off x="571894" y="2353659"/>
            <a:ext cx="3684352" cy="3836139"/>
          </a:xfrm>
        </p:spPr>
        <p:txBody>
          <a:bodyPr/>
          <a:lstStyle/>
          <a:p>
            <a:r>
              <a:rPr lang="en-GB" dirty="0"/>
              <a:t>Rising food inflation (BRC-NIQ SPI Feb-23 </a:t>
            </a:r>
            <a:r>
              <a:rPr lang="en-GB" b="1" dirty="0"/>
              <a:t>+14.5%</a:t>
            </a:r>
            <a:r>
              <a:rPr lang="en-GB" dirty="0"/>
              <a:t>), is reflected in </a:t>
            </a:r>
            <a:r>
              <a:rPr lang="en-GB" b="1" dirty="0"/>
              <a:t>Total Till </a:t>
            </a:r>
            <a:r>
              <a:rPr lang="en-GB" dirty="0"/>
              <a:t>value growths which increased from 7.6% in January to </a:t>
            </a:r>
            <a:r>
              <a:rPr lang="en-GB" b="1" dirty="0"/>
              <a:t>11.1%</a:t>
            </a:r>
            <a:r>
              <a:rPr lang="en-GB" dirty="0"/>
              <a:t>.</a:t>
            </a:r>
          </a:p>
          <a:p>
            <a:endParaRPr lang="en-GB" dirty="0"/>
          </a:p>
          <a:p>
            <a:r>
              <a:rPr lang="en-GB" dirty="0">
                <a:effectLst/>
                <a:ea typeface="Times New Roman" panose="02020603050405020304" pitchFamily="18" charset="0"/>
                <a:cs typeface="Arial" panose="020B0604020202020204" pitchFamily="34" charset="0"/>
              </a:rPr>
              <a:t>Volumes (units) at the Grocery Multiples </a:t>
            </a:r>
            <a:r>
              <a:rPr lang="en-GB" dirty="0">
                <a:ea typeface="Times New Roman" panose="02020603050405020304" pitchFamily="18" charset="0"/>
                <a:cs typeface="Arial" panose="020B0604020202020204" pitchFamily="34" charset="0"/>
              </a:rPr>
              <a:t>remain negative (</a:t>
            </a:r>
            <a:r>
              <a:rPr lang="en-GB" b="1" dirty="0">
                <a:effectLst/>
                <a:ea typeface="Times New Roman" panose="02020603050405020304" pitchFamily="18" charset="0"/>
                <a:cs typeface="Arial" panose="020B0604020202020204" pitchFamily="34" charset="0"/>
              </a:rPr>
              <a:t>-4.1%</a:t>
            </a:r>
            <a:r>
              <a:rPr lang="en-GB" dirty="0">
                <a:effectLst/>
                <a:ea typeface="Times New Roman" panose="02020603050405020304" pitchFamily="18" charset="0"/>
                <a:cs typeface="Arial" panose="020B0604020202020204" pitchFamily="34" charset="0"/>
              </a:rPr>
              <a:t>) but have improved on January (-6.9%).</a:t>
            </a:r>
          </a:p>
          <a:p>
            <a:endParaRPr lang="en-US" dirty="0"/>
          </a:p>
          <a:p>
            <a:r>
              <a:rPr lang="en-GB" dirty="0">
                <a:ea typeface="Times New Roman" panose="02020603050405020304" pitchFamily="18" charset="0"/>
                <a:cs typeface="Times New Roman" panose="02020603050405020304" pitchFamily="18" charset="0"/>
              </a:rPr>
              <a:t>Additional retailer </a:t>
            </a:r>
            <a:r>
              <a:rPr lang="en-GB" b="1" dirty="0">
                <a:ea typeface="Times New Roman" panose="02020603050405020304" pitchFamily="18" charset="0"/>
                <a:cs typeface="Times New Roman" panose="02020603050405020304" pitchFamily="18" charset="0"/>
              </a:rPr>
              <a:t>price cuts &amp; price matching</a:t>
            </a:r>
            <a:r>
              <a:rPr lang="en-GB" dirty="0">
                <a:ea typeface="Times New Roman" panose="02020603050405020304" pitchFamily="18" charset="0"/>
                <a:cs typeface="Times New Roman" panose="02020603050405020304" pitchFamily="18" charset="0"/>
              </a:rPr>
              <a:t> initiatives coupled with the various shopper </a:t>
            </a:r>
            <a:r>
              <a:rPr lang="en-GB" b="1" dirty="0">
                <a:ea typeface="Times New Roman" panose="02020603050405020304" pitchFamily="18" charset="0"/>
                <a:cs typeface="Times New Roman" panose="02020603050405020304" pitchFamily="18" charset="0"/>
              </a:rPr>
              <a:t>coping strategies </a:t>
            </a:r>
            <a:r>
              <a:rPr lang="en-GB" dirty="0">
                <a:ea typeface="Times New Roman" panose="02020603050405020304" pitchFamily="18" charset="0"/>
                <a:cs typeface="Times New Roman" panose="02020603050405020304" pitchFamily="18" charset="0"/>
              </a:rPr>
              <a:t>will be helping to lessen the impact of inflation on many shopping baskets.</a:t>
            </a:r>
          </a:p>
          <a:p>
            <a:endParaRPr lang="en-GB" dirty="0"/>
          </a:p>
        </p:txBody>
      </p:sp>
    </p:spTree>
    <p:extLst>
      <p:ext uri="{BB962C8B-B14F-4D97-AF65-F5344CB8AC3E}">
        <p14:creationId xmlns:p14="http://schemas.microsoft.com/office/powerpoint/2010/main" val="37299684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6600" dirty="0">
                <a:latin typeface="Georgia" panose="02040502050405020303" pitchFamily="18" charset="0"/>
              </a:rPr>
              <a:t>20%</a:t>
            </a:r>
            <a:endParaRPr lang="en-US" sz="6000" dirty="0">
              <a:latin typeface="Georgia" panose="02040502050405020303" pitchFamily="18" charset="0"/>
            </a:endParaRPr>
          </a:p>
          <a:p>
            <a:r>
              <a:rPr lang="en-US" sz="1800" b="0" dirty="0"/>
              <a:t>Multiples* value sales bought on offer (no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elsenIQ Homescan % Value FMCG value sales bought on offer, 4w/e 25th February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p:txBody>
          <a:bodyPr/>
          <a:lstStyle/>
          <a:p>
            <a:r>
              <a:rPr lang="en-US" dirty="0"/>
              <a:t>Ocado, Iceland and M&amp;S all sold more on promotion than last February</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2751909812"/>
              </p:ext>
            </p:extLst>
          </p:nvPr>
        </p:nvGraphicFramePr>
        <p:xfrm>
          <a:off x="879341" y="1387150"/>
          <a:ext cx="4780923" cy="3708176"/>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1" i="0" u="none" strike="noStrike" dirty="0">
                          <a:solidFill>
                            <a:srgbClr val="000000"/>
                          </a:solidFill>
                          <a:effectLst/>
                          <a:latin typeface="+mn-lt"/>
                        </a:rPr>
                        <a:t>Ocado</a:t>
                      </a:r>
                    </a:p>
                  </a:txBody>
                  <a:tcPr marL="0" marR="0" marT="0" marB="0" anchor="b"/>
                </a:tc>
                <a:tc>
                  <a:txBody>
                    <a:bodyPr/>
                    <a:lstStyle/>
                    <a:p>
                      <a:pPr algn="ctr" fontAlgn="b"/>
                      <a:r>
                        <a:rPr lang="en-GB" sz="1400" b="1" i="0" u="none" strike="noStrike" dirty="0">
                          <a:solidFill>
                            <a:srgbClr val="000000"/>
                          </a:solidFill>
                          <a:effectLst/>
                          <a:latin typeface="+mn-lt"/>
                        </a:rPr>
                        <a:t>40%</a:t>
                      </a:r>
                    </a:p>
                  </a:txBody>
                  <a:tcPr marL="0" marR="0" marT="0" marB="0" anchor="b"/>
                </a:tc>
                <a:tc>
                  <a:txBody>
                    <a:bodyPr/>
                    <a:lstStyle/>
                    <a:p>
                      <a:pPr algn="ctr" fontAlgn="b"/>
                      <a:r>
                        <a:rPr lang="en-GB" sz="1400" b="1" i="0" u="none" strike="noStrike" dirty="0">
                          <a:solidFill>
                            <a:srgbClr val="000000"/>
                          </a:solidFill>
                          <a:effectLst/>
                          <a:latin typeface="+mn-lt"/>
                        </a:rPr>
                        <a:t>+6%</a:t>
                      </a:r>
                    </a:p>
                  </a:txBody>
                  <a:tcPr marL="0" marR="0" marT="0" marB="0" anchor="b"/>
                </a:tc>
                <a:extLst>
                  <a:ext uri="{0D108BD9-81ED-4DB2-BD59-A6C34878D82A}">
                    <a16:rowId xmlns:a16="http://schemas.microsoft.com/office/drawing/2014/main" val="1992603370"/>
                  </a:ext>
                </a:extLst>
              </a:tr>
              <a:tr h="303856">
                <a:tc>
                  <a:txBody>
                    <a:bodyPr/>
                    <a:lstStyle/>
                    <a:p>
                      <a:pPr algn="ctr" fontAlgn="ctr"/>
                      <a:r>
                        <a:rPr lang="en-GB" sz="1400" b="0" i="0" u="none" strike="noStrike" dirty="0">
                          <a:solidFill>
                            <a:srgbClr val="000000"/>
                          </a:solidFill>
                          <a:effectLst/>
                          <a:latin typeface="+mn-lt"/>
                        </a:rPr>
                        <a:t> Waitrose </a:t>
                      </a:r>
                    </a:p>
                  </a:txBody>
                  <a:tcPr marL="0" marR="0" marT="0" marB="0" anchor="ctr"/>
                </a:tc>
                <a:tc>
                  <a:txBody>
                    <a:bodyPr/>
                    <a:lstStyle/>
                    <a:p>
                      <a:pPr algn="ctr" fontAlgn="b"/>
                      <a:r>
                        <a:rPr lang="en-GB" sz="1400" b="0" i="0" u="none" strike="noStrike" dirty="0">
                          <a:solidFill>
                            <a:srgbClr val="000000"/>
                          </a:solidFill>
                          <a:effectLst/>
                          <a:latin typeface="+mn-lt"/>
                        </a:rPr>
                        <a:t>32%</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4085194090"/>
                  </a:ext>
                </a:extLst>
              </a:tr>
              <a:tr h="303856">
                <a:tc>
                  <a:txBody>
                    <a:bodyPr/>
                    <a:lstStyle/>
                    <a:p>
                      <a:pPr algn="ctr" fontAlgn="ctr"/>
                      <a:r>
                        <a:rPr lang="en-GB" sz="1400" b="1" i="0" u="none" strike="noStrike" dirty="0">
                          <a:solidFill>
                            <a:srgbClr val="000000"/>
                          </a:solidFill>
                          <a:effectLst/>
                          <a:latin typeface="+mn-lt"/>
                        </a:rPr>
                        <a:t> Iceland </a:t>
                      </a:r>
                    </a:p>
                  </a:txBody>
                  <a:tcPr marL="0" marR="0" marT="0" marB="0" anchor="ctr"/>
                </a:tc>
                <a:tc>
                  <a:txBody>
                    <a:bodyPr/>
                    <a:lstStyle/>
                    <a:p>
                      <a:pPr algn="ctr" fontAlgn="b"/>
                      <a:r>
                        <a:rPr lang="en-GB" sz="1400" b="1" i="0" u="none" strike="noStrike" dirty="0">
                          <a:solidFill>
                            <a:srgbClr val="000000"/>
                          </a:solidFill>
                          <a:effectLst/>
                          <a:latin typeface="+mn-lt"/>
                        </a:rPr>
                        <a:t>28%</a:t>
                      </a:r>
                    </a:p>
                  </a:txBody>
                  <a:tcPr marL="0" marR="0" marT="0" marB="0" anchor="b"/>
                </a:tc>
                <a:tc>
                  <a:txBody>
                    <a:bodyPr/>
                    <a:lstStyle/>
                    <a:p>
                      <a:pPr algn="ctr" fontAlgn="b"/>
                      <a:r>
                        <a:rPr lang="en-GB" sz="1400" b="1" i="0" u="none" strike="noStrike" dirty="0">
                          <a:solidFill>
                            <a:srgbClr val="000000"/>
                          </a:solidFill>
                          <a:effectLst/>
                          <a:latin typeface="+mn-lt"/>
                        </a:rPr>
                        <a:t>+6%</a:t>
                      </a:r>
                    </a:p>
                  </a:txBody>
                  <a:tcPr marL="0" marR="0" marT="0" marB="0" anchor="b"/>
                </a:tc>
                <a:extLst>
                  <a:ext uri="{0D108BD9-81ED-4DB2-BD59-A6C34878D82A}">
                    <a16:rowId xmlns:a16="http://schemas.microsoft.com/office/drawing/2014/main" val="3899766706"/>
                  </a:ext>
                </a:extLst>
              </a:tr>
              <a:tr h="303856">
                <a:tc>
                  <a:txBody>
                    <a:bodyPr/>
                    <a:lstStyle/>
                    <a:p>
                      <a:pPr algn="ctr" fontAlgn="ctr"/>
                      <a:r>
                        <a:rPr lang="en-GB" sz="1400" b="1" i="0" u="none" strike="noStrike" dirty="0">
                          <a:solidFill>
                            <a:srgbClr val="000000"/>
                          </a:solidFill>
                          <a:effectLst/>
                          <a:latin typeface="+mn-lt"/>
                        </a:rPr>
                        <a:t> M&amp;S </a:t>
                      </a:r>
                    </a:p>
                  </a:txBody>
                  <a:tcPr marL="0" marR="0" marT="0" marB="0" anchor="ctr"/>
                </a:tc>
                <a:tc>
                  <a:txBody>
                    <a:bodyPr/>
                    <a:lstStyle/>
                    <a:p>
                      <a:pPr algn="ctr" fontAlgn="b"/>
                      <a:r>
                        <a:rPr lang="en-GB" sz="1400" b="1" i="0" u="none" strike="noStrike" dirty="0">
                          <a:solidFill>
                            <a:srgbClr val="000000"/>
                          </a:solidFill>
                          <a:effectLst/>
                          <a:latin typeface="+mn-lt"/>
                        </a:rPr>
                        <a:t>28%</a:t>
                      </a:r>
                    </a:p>
                  </a:txBody>
                  <a:tcPr marL="0" marR="0" marT="0" marB="0" anchor="b"/>
                </a:tc>
                <a:tc>
                  <a:txBody>
                    <a:bodyPr/>
                    <a:lstStyle/>
                    <a:p>
                      <a:pPr algn="ctr" fontAlgn="b"/>
                      <a:r>
                        <a:rPr lang="en-GB" sz="1400" b="1" i="0" u="none" strike="noStrike" dirty="0">
                          <a:solidFill>
                            <a:srgbClr val="000000"/>
                          </a:solidFill>
                          <a:effectLst/>
                          <a:latin typeface="+mn-lt"/>
                        </a:rPr>
                        <a:t>+5%</a:t>
                      </a:r>
                    </a:p>
                  </a:txBody>
                  <a:tcPr marL="0" marR="0" marT="0" marB="0" anchor="b"/>
                </a:tc>
                <a:extLst>
                  <a:ext uri="{0D108BD9-81ED-4DB2-BD59-A6C34878D82A}">
                    <a16:rowId xmlns:a16="http://schemas.microsoft.com/office/drawing/2014/main" val="3353991038"/>
                  </a:ext>
                </a:extLst>
              </a:tr>
              <a:tr h="303856">
                <a:tc>
                  <a:txBody>
                    <a:bodyPr/>
                    <a:lstStyle/>
                    <a:p>
                      <a:pPr algn="ctr" fontAlgn="b"/>
                      <a:r>
                        <a:rPr lang="en-GB" sz="1400" b="0" i="0" u="none" strike="noStrike" dirty="0">
                          <a:solidFill>
                            <a:srgbClr val="000000"/>
                          </a:solidFill>
                          <a:effectLst/>
                          <a:latin typeface="+mn-lt"/>
                        </a:rPr>
                        <a:t>Morrisons</a:t>
                      </a:r>
                    </a:p>
                  </a:txBody>
                  <a:tcPr marL="0" marR="0" marT="0" marB="0" anchor="b"/>
                </a:tc>
                <a:tc>
                  <a:txBody>
                    <a:bodyPr/>
                    <a:lstStyle/>
                    <a:p>
                      <a:pPr algn="ctr" fontAlgn="b"/>
                      <a:r>
                        <a:rPr lang="en-GB" sz="1400" b="0" i="0" u="none" strike="noStrike" dirty="0">
                          <a:solidFill>
                            <a:srgbClr val="000000"/>
                          </a:solidFill>
                          <a:effectLst/>
                          <a:latin typeface="+mn-lt"/>
                        </a:rPr>
                        <a:t>26%</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2624498789"/>
                  </a:ext>
                </a:extLst>
              </a:tr>
              <a:tr h="303856">
                <a:tc>
                  <a:txBody>
                    <a:bodyPr/>
                    <a:lstStyle/>
                    <a:p>
                      <a:pPr algn="ctr" fontAlgn="ctr"/>
                      <a:r>
                        <a:rPr lang="en-GB" sz="1400" b="0" i="0" u="none" strike="noStrike" dirty="0">
                          <a:solidFill>
                            <a:srgbClr val="000000"/>
                          </a:solidFill>
                          <a:effectLst/>
                          <a:latin typeface="+mn-lt"/>
                        </a:rPr>
                        <a:t> Co-op </a:t>
                      </a:r>
                    </a:p>
                  </a:txBody>
                  <a:tcPr marL="0" marR="0" marT="0" marB="0" anchor="ctr"/>
                </a:tc>
                <a:tc>
                  <a:txBody>
                    <a:bodyPr/>
                    <a:lstStyle/>
                    <a:p>
                      <a:pPr algn="ctr" fontAlgn="b"/>
                      <a:r>
                        <a:rPr lang="en-GB" sz="1400" b="0" i="0" u="none" strike="noStrike" dirty="0">
                          <a:solidFill>
                            <a:srgbClr val="000000"/>
                          </a:solidFill>
                          <a:effectLst/>
                          <a:latin typeface="+mn-lt"/>
                        </a:rPr>
                        <a:t>26%</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1592275139"/>
                  </a:ext>
                </a:extLst>
              </a:tr>
              <a:tr h="303856">
                <a:tc>
                  <a:txBody>
                    <a:bodyPr/>
                    <a:lstStyle/>
                    <a:p>
                      <a:pPr algn="ctr" fontAlgn="ctr"/>
                      <a:r>
                        <a:rPr lang="en-GB" sz="1400" b="0" i="0" u="none" strike="noStrike" dirty="0">
                          <a:solidFill>
                            <a:srgbClr val="000000"/>
                          </a:solidFill>
                          <a:effectLst/>
                          <a:latin typeface="+mn-lt"/>
                        </a:rPr>
                        <a:t> Tesco </a:t>
                      </a:r>
                    </a:p>
                  </a:txBody>
                  <a:tcPr marL="0" marR="0" marT="0" marB="0" anchor="ctr"/>
                </a:tc>
                <a:tc>
                  <a:txBody>
                    <a:bodyPr/>
                    <a:lstStyle/>
                    <a:p>
                      <a:pPr algn="ctr" fontAlgn="b"/>
                      <a:r>
                        <a:rPr lang="en-GB" sz="1400" b="0" i="0" u="none" strike="noStrike" dirty="0">
                          <a:solidFill>
                            <a:srgbClr val="000000"/>
                          </a:solidFill>
                          <a:effectLst/>
                          <a:latin typeface="+mn-lt"/>
                        </a:rPr>
                        <a:t>25%</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3997965209"/>
                  </a:ext>
                </a:extLst>
              </a:tr>
              <a:tr h="303856">
                <a:tc>
                  <a:txBody>
                    <a:bodyPr/>
                    <a:lstStyle/>
                    <a:p>
                      <a:pPr algn="ctr" fontAlgn="ctr"/>
                      <a:r>
                        <a:rPr lang="en-GB" sz="1400" b="0" i="0" u="none" strike="noStrike" dirty="0">
                          <a:solidFill>
                            <a:srgbClr val="000000"/>
                          </a:solidFill>
                          <a:effectLst/>
                          <a:latin typeface="+mn-lt"/>
                        </a:rPr>
                        <a:t> Sainsbury's </a:t>
                      </a:r>
                    </a:p>
                  </a:txBody>
                  <a:tcPr marL="0" marR="0" marT="0" marB="0" anchor="ctr"/>
                </a:tc>
                <a:tc>
                  <a:txBody>
                    <a:bodyPr/>
                    <a:lstStyle/>
                    <a:p>
                      <a:pPr algn="ctr" fontAlgn="b"/>
                      <a:r>
                        <a:rPr lang="en-GB" sz="1400" b="0" i="0" u="none" strike="noStrike" dirty="0">
                          <a:solidFill>
                            <a:srgbClr val="000000"/>
                          </a:solidFill>
                          <a:effectLst/>
                          <a:latin typeface="+mn-lt"/>
                        </a:rPr>
                        <a:t>24%</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ASDA</a:t>
                      </a:r>
                    </a:p>
                  </a:txBody>
                  <a:tcPr marL="0" marR="0" marT="0" marB="0" anchor="b"/>
                </a:tc>
                <a:tc>
                  <a:txBody>
                    <a:bodyPr/>
                    <a:lstStyle/>
                    <a:p>
                      <a:pPr algn="ctr" fontAlgn="b"/>
                      <a:r>
                        <a:rPr lang="en-GB" sz="1400" b="0" i="0" u="none" strike="noStrike" dirty="0">
                          <a:solidFill>
                            <a:srgbClr val="000000"/>
                          </a:solidFill>
                          <a:effectLst/>
                          <a:latin typeface="+mn-lt"/>
                        </a:rPr>
                        <a:t>16%</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 Lidl </a:t>
                      </a:r>
                    </a:p>
                  </a:txBody>
                  <a:tcPr marL="0" marR="0" marT="0" marB="0" anchor="ctr"/>
                </a:tc>
                <a:tc>
                  <a:txBody>
                    <a:bodyPr/>
                    <a:lstStyle/>
                    <a:p>
                      <a:pPr algn="ctr" fontAlgn="b"/>
                      <a:r>
                        <a:rPr lang="en-GB" sz="1400" b="0" i="0" u="none" strike="noStrike" dirty="0">
                          <a:solidFill>
                            <a:srgbClr val="000000"/>
                          </a:solidFill>
                          <a:effectLst/>
                          <a:latin typeface="+mn-lt"/>
                        </a:rPr>
                        <a:t>7%</a:t>
                      </a:r>
                    </a:p>
                  </a:txBody>
                  <a:tcPr marL="0" marR="0" marT="0" marB="0" anchor="b"/>
                </a:tc>
                <a:tc>
                  <a:txBody>
                    <a:bodyPr/>
                    <a:lstStyle/>
                    <a:p>
                      <a:pPr algn="ctr" fontAlgn="b"/>
                      <a:r>
                        <a:rPr lang="en-GB" sz="1400" b="0" i="0" u="none" strike="noStrike" dirty="0">
                          <a:solidFill>
                            <a:srgbClr val="000000"/>
                          </a:solidFill>
                          <a:effectLst/>
                          <a:latin typeface="+mn-lt"/>
                        </a:rPr>
                        <a:t>-2%</a:t>
                      </a:r>
                    </a:p>
                  </a:txBody>
                  <a:tcPr marL="0" marR="0" marT="0" marB="0" anchor="b"/>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Aldi </a:t>
                      </a:r>
                    </a:p>
                  </a:txBody>
                  <a:tcPr marL="0" marR="0" marT="0" marB="0" anchor="ctr"/>
                </a:tc>
                <a:tc>
                  <a:txBody>
                    <a:bodyPr/>
                    <a:lstStyle/>
                    <a:p>
                      <a:pPr algn="ctr" fontAlgn="b"/>
                      <a:r>
                        <a:rPr lang="en-GB" sz="1400" b="0" i="0" u="none" strike="noStrike" dirty="0">
                          <a:solidFill>
                            <a:srgbClr val="000000"/>
                          </a:solidFill>
                          <a:effectLst/>
                          <a:latin typeface="+mn-lt"/>
                        </a:rPr>
                        <a:t>3%</a:t>
                      </a:r>
                    </a:p>
                  </a:txBody>
                  <a:tcPr marL="0" marR="0" marT="0" marB="0" anchor="b"/>
                </a:tc>
                <a:tc>
                  <a:txBody>
                    <a:bodyPr/>
                    <a:lstStyle/>
                    <a:p>
                      <a:pPr algn="ctr" fontAlgn="b"/>
                      <a:r>
                        <a:rPr lang="en-GB" sz="1400" b="0" i="0" u="none" strike="noStrike" dirty="0">
                          <a:solidFill>
                            <a:srgbClr val="000000"/>
                          </a:solidFill>
                          <a:effectLst/>
                          <a:latin typeface="+mn-lt"/>
                        </a:rPr>
                        <a:t>-1%</a:t>
                      </a:r>
                    </a:p>
                  </a:txBody>
                  <a:tcPr marL="0" marR="0" marT="0" marB="0" anchor="b"/>
                </a:tc>
                <a:extLst>
                  <a:ext uri="{0D108BD9-81ED-4DB2-BD59-A6C34878D82A}">
                    <a16:rowId xmlns:a16="http://schemas.microsoft.com/office/drawing/2014/main" val="1415998067"/>
                  </a:ext>
                </a:extLst>
              </a:tr>
            </a:tbl>
          </a:graphicData>
        </a:graphic>
      </p:graphicFrame>
    </p:spTree>
    <p:extLst>
      <p:ext uri="{BB962C8B-B14F-4D97-AF65-F5344CB8AC3E}">
        <p14:creationId xmlns:p14="http://schemas.microsoft.com/office/powerpoint/2010/main" val="233268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2815786799"/>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2214132526"/>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648348702"/>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77143901"/>
              </p:ext>
            </p:extLst>
          </p:nvPr>
        </p:nvGraphicFramePr>
        <p:xfrm>
          <a:off x="4602051" y="3520224"/>
          <a:ext cx="3354946" cy="1854559"/>
        </p:xfrm>
        <a:graphic>
          <a:graphicData uri="http://schemas.openxmlformats.org/drawingml/2006/chart">
            <c:chart xmlns:c="http://schemas.openxmlformats.org/drawingml/2006/chart" xmlns:r="http://schemas.openxmlformats.org/officeDocument/2006/relationships" r:id="rId5"/>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314317" y="3133508"/>
            <a:ext cx="3503952" cy="2390972"/>
          </a:xfrm>
        </p:spPr>
        <p:txBody>
          <a:bodyPr/>
          <a:lstStyle/>
          <a:p>
            <a:r>
              <a:rPr lang="en-GB" sz="3200" dirty="0"/>
              <a:t>As shoppers buy </a:t>
            </a:r>
            <a:r>
              <a:rPr lang="en-GB" sz="3200" b="0" i="1" dirty="0">
                <a:latin typeface="Georgia" panose="02040502050405020303" pitchFamily="18" charset="0"/>
              </a:rPr>
              <a:t>fewer items </a:t>
            </a:r>
            <a:r>
              <a:rPr lang="en-GB" sz="3200" dirty="0"/>
              <a:t>retailers will need to attract </a:t>
            </a:r>
            <a:r>
              <a:rPr lang="en-GB" sz="3200" b="0" i="1" dirty="0">
                <a:latin typeface="Georgia" panose="02040502050405020303" pitchFamily="18" charset="0"/>
              </a:rPr>
              <a:t>more shoppers </a:t>
            </a:r>
            <a:r>
              <a:rPr lang="en-GB" sz="3200" dirty="0"/>
              <a:t>as well as </a:t>
            </a:r>
            <a:r>
              <a:rPr lang="en-GB" sz="3200" b="0" i="1" dirty="0">
                <a:latin typeface="Georgia" panose="02040502050405020303" pitchFamily="18" charset="0"/>
              </a:rPr>
              <a:t>visits</a:t>
            </a:r>
            <a:r>
              <a:rPr lang="en-GB" sz="3200" dirty="0"/>
              <a:t> to </a:t>
            </a:r>
            <a:r>
              <a:rPr lang="en-GB" sz="3200" b="0" i="1" dirty="0">
                <a:latin typeface="Georgia" panose="02040502050405020303" pitchFamily="18" charset="0"/>
              </a:rPr>
              <a:t>drive spend</a:t>
            </a: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elsenIQ Homescan FMCG 4w/e 25</a:t>
            </a:r>
            <a:r>
              <a:rPr lang="en-GB" baseline="30000" dirty="0"/>
              <a:t>th</a:t>
            </a:r>
            <a:r>
              <a:rPr lang="en-GB" dirty="0"/>
              <a:t> February 2023</a:t>
            </a:r>
          </a:p>
        </p:txBody>
      </p:sp>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301438" y="2241832"/>
            <a:ext cx="3684352" cy="2400687"/>
          </a:xfrm>
        </p:spPr>
        <p:txBody>
          <a:bodyPr/>
          <a:lstStyle/>
          <a:p>
            <a:pPr marL="342900" lvl="0" indent="-342900" fontAlgn="base">
              <a:buSzPts val="1100"/>
              <a:buFont typeface="Symbol" panose="05050102010706020507" pitchFamily="18" charset="2"/>
              <a:buChar char=""/>
            </a:pP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For the first 8 weeks of 2023, the average </a:t>
            </a:r>
            <a:r>
              <a:rPr lang="en-GB" sz="1600" dirty="0">
                <a:solidFill>
                  <a:schemeClr val="tx2"/>
                </a:solidFill>
                <a:effectLst/>
                <a:latin typeface="Georgia" panose="02040502050405020303" pitchFamily="18" charset="0"/>
                <a:ea typeface="Times New Roman" panose="02020603050405020304" pitchFamily="18" charset="0"/>
                <a:cs typeface="Calibri" panose="020F0502020204030204" pitchFamily="34" charset="0"/>
              </a:rPr>
              <a:t>weekly</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growth at the Grocery </a:t>
            </a:r>
            <a:r>
              <a:rPr lang="en-GB" sz="1600" dirty="0">
                <a:solidFill>
                  <a:schemeClr val="tx1">
                    <a:lumMod val="50000"/>
                  </a:schemeClr>
                </a:solidFill>
                <a:effectLst/>
                <a:latin typeface="Georgia" panose="02040502050405020303" pitchFamily="18" charset="0"/>
                <a:ea typeface="Times New Roman" panose="02020603050405020304" pitchFamily="18" charset="0"/>
                <a:cs typeface="Calibri" panose="020F0502020204030204" pitchFamily="34" charset="0"/>
              </a:rPr>
              <a:t>Multiples</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is </a:t>
            </a:r>
            <a:r>
              <a:rPr lang="en-GB" sz="1600" b="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5.3% </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on last year which is also </a:t>
            </a:r>
            <a:r>
              <a:rPr lang="en-GB" sz="1600" b="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1.7% </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compared to 2 years ago.</a:t>
            </a:r>
          </a:p>
          <a:p>
            <a:pPr marL="0" lvl="0" indent="0" fontAlgn="base">
              <a:buSzPts val="1100"/>
              <a:buNone/>
            </a:pPr>
            <a:endParaRPr lang="en-GB" sz="1600" dirty="0">
              <a:solidFill>
                <a:srgbClr val="000000"/>
              </a:solidFill>
              <a:latin typeface="Georgia" panose="02040502050405020303" pitchFamily="18" charset="0"/>
              <a:ea typeface="Times New Roman" panose="02020603050405020304" pitchFamily="18" charset="0"/>
              <a:cs typeface="Calibri" panose="020F0502020204030204" pitchFamily="34" charset="0"/>
            </a:endParaRPr>
          </a:p>
          <a:p>
            <a:pPr marL="342900" lvl="0" indent="-342900" fontAlgn="base">
              <a:buSzPts val="1100"/>
              <a:buFont typeface="Symbol" panose="05050102010706020507" pitchFamily="18" charset="2"/>
              <a:buChar char=""/>
            </a:pPr>
            <a:r>
              <a:rPr lang="en-GB" sz="16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Food inflation </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hould </a:t>
            </a:r>
            <a:r>
              <a:rPr lang="en-GB" sz="16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tart to slow </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in the second part of 2023, which should help to </a:t>
            </a:r>
            <a:r>
              <a:rPr lang="en-GB" sz="16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support volume sales</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a:t>
            </a:r>
            <a:endParaRPr lang="en-GB" sz="1600" dirty="0">
              <a:effectLst/>
              <a:latin typeface="Times New Roman" panose="02020603050405020304" pitchFamily="18" charset="0"/>
              <a:ea typeface="Times New Roman" panose="02020603050405020304" pitchFamily="18" charset="0"/>
            </a:endParaRPr>
          </a:p>
          <a:p>
            <a:pPr marL="0" indent="0">
              <a:buNone/>
            </a:pPr>
            <a:endParaRPr lang="en-US" dirty="0"/>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43</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308416" y="2241832"/>
            <a:ext cx="3684352" cy="2400687"/>
          </a:xfrm>
        </p:spPr>
        <p:txBody>
          <a:bodyPr/>
          <a:lstStyle/>
          <a:p>
            <a:pPr marL="342900" lvl="0" indent="-342900" fontAlgn="base">
              <a:buSzPts val="1100"/>
              <a:buFont typeface="Symbol" panose="05050102010706020507" pitchFamily="18" charset="2"/>
              <a:buChar char=""/>
            </a:pPr>
            <a:r>
              <a:rPr lang="en-GB" sz="1600" b="1" i="1" dirty="0">
                <a:solidFill>
                  <a:schemeClr val="tx1">
                    <a:lumMod val="50000"/>
                  </a:schemeClr>
                </a:solidFill>
                <a:latin typeface="Georgia" panose="02040502050405020303" pitchFamily="18" charset="0"/>
              </a:rPr>
              <a:t>Promotional spend </a:t>
            </a:r>
            <a:r>
              <a:rPr lang="en-GB" sz="1600" dirty="0">
                <a:solidFill>
                  <a:schemeClr val="tx1">
                    <a:lumMod val="50000"/>
                  </a:schemeClr>
                </a:solidFill>
                <a:latin typeface="Georgia" panose="02040502050405020303" pitchFamily="18" charset="0"/>
              </a:rPr>
              <a:t>continues to be </a:t>
            </a:r>
            <a:r>
              <a:rPr lang="en-GB" sz="1600" b="1" i="1" dirty="0">
                <a:solidFill>
                  <a:schemeClr val="tx1">
                    <a:lumMod val="50000"/>
                  </a:schemeClr>
                </a:solidFill>
                <a:latin typeface="Georgia" panose="02040502050405020303" pitchFamily="18" charset="0"/>
              </a:rPr>
              <a:t>low</a:t>
            </a:r>
            <a:r>
              <a:rPr lang="en-GB" sz="1600" dirty="0">
                <a:solidFill>
                  <a:schemeClr val="tx1">
                    <a:lumMod val="50000"/>
                  </a:schemeClr>
                </a:solidFill>
                <a:latin typeface="Georgia" panose="02040502050405020303" pitchFamily="18" charset="0"/>
              </a:rPr>
              <a:t> and </a:t>
            </a:r>
            <a:r>
              <a:rPr lang="en-GB" sz="1600" b="1" i="1" dirty="0">
                <a:solidFill>
                  <a:schemeClr val="tx1">
                    <a:lumMod val="50000"/>
                  </a:schemeClr>
                </a:solidFill>
                <a:latin typeface="Georgia" panose="02040502050405020303" pitchFamily="18" charset="0"/>
              </a:rPr>
              <a:t>stable</a:t>
            </a:r>
            <a:r>
              <a:rPr lang="en-GB" sz="1600" dirty="0">
                <a:solidFill>
                  <a:schemeClr val="tx1">
                    <a:lumMod val="50000"/>
                  </a:schemeClr>
                </a:solidFill>
                <a:latin typeface="Georgia" panose="02040502050405020303" pitchFamily="18" charset="0"/>
              </a:rPr>
              <a:t> at </a:t>
            </a:r>
            <a:r>
              <a:rPr lang="en-GB" sz="1600" i="1" dirty="0">
                <a:solidFill>
                  <a:schemeClr val="tx1">
                    <a:lumMod val="50000"/>
                  </a:schemeClr>
                </a:solidFill>
                <a:latin typeface="Georgia" panose="02040502050405020303" pitchFamily="18" charset="0"/>
              </a:rPr>
              <a:t>20%</a:t>
            </a:r>
            <a:r>
              <a:rPr lang="en-GB" sz="1600" dirty="0">
                <a:solidFill>
                  <a:schemeClr val="tx1">
                    <a:lumMod val="50000"/>
                  </a:schemeClr>
                </a:solidFill>
                <a:latin typeface="Georgia" panose="02040502050405020303" pitchFamily="18" charset="0"/>
              </a:rPr>
              <a:t> of all FMCG sales with </a:t>
            </a:r>
            <a:r>
              <a:rPr lang="en-GB" sz="1600" b="1" i="1" dirty="0">
                <a:solidFill>
                  <a:schemeClr val="tx1">
                    <a:lumMod val="50000"/>
                  </a:schemeClr>
                </a:solidFill>
                <a:latin typeface="Georgia" panose="02040502050405020303" pitchFamily="18" charset="0"/>
              </a:rPr>
              <a:t>longer-term price cuts </a:t>
            </a:r>
            <a:r>
              <a:rPr lang="en-GB" sz="1600" dirty="0">
                <a:solidFill>
                  <a:schemeClr val="tx1">
                    <a:lumMod val="50000"/>
                  </a:schemeClr>
                </a:solidFill>
                <a:latin typeface="Georgia" panose="02040502050405020303" pitchFamily="18" charset="0"/>
              </a:rPr>
              <a:t>and </a:t>
            </a:r>
            <a:r>
              <a:rPr lang="en-GB" sz="1600" b="1" i="1" dirty="0">
                <a:solidFill>
                  <a:schemeClr val="tx1">
                    <a:lumMod val="50000"/>
                  </a:schemeClr>
                </a:solidFill>
                <a:latin typeface="Georgia" panose="02040502050405020303" pitchFamily="18" charset="0"/>
              </a:rPr>
              <a:t>price locks </a:t>
            </a:r>
            <a:r>
              <a:rPr lang="en-GB" sz="1600" dirty="0">
                <a:solidFill>
                  <a:schemeClr val="tx1">
                    <a:lumMod val="50000"/>
                  </a:schemeClr>
                </a:solidFill>
                <a:latin typeface="Georgia" panose="02040502050405020303" pitchFamily="18" charset="0"/>
              </a:rPr>
              <a:t>now </a:t>
            </a:r>
            <a:r>
              <a:rPr lang="en-GB" sz="1600" i="1" dirty="0">
                <a:solidFill>
                  <a:schemeClr val="tx1">
                    <a:lumMod val="50000"/>
                  </a:schemeClr>
                </a:solidFill>
                <a:latin typeface="Georgia" panose="02040502050405020303" pitchFamily="18" charset="0"/>
              </a:rPr>
              <a:t>favoured</a:t>
            </a:r>
            <a:r>
              <a:rPr lang="en-GB" sz="1600" dirty="0">
                <a:solidFill>
                  <a:schemeClr val="tx1">
                    <a:lumMod val="50000"/>
                  </a:schemeClr>
                </a:solidFill>
                <a:latin typeface="Georgia" panose="02040502050405020303" pitchFamily="18" charset="0"/>
              </a:rPr>
              <a:t> by </a:t>
            </a:r>
            <a:r>
              <a:rPr lang="en-GB" sz="1600" i="1" dirty="0">
                <a:solidFill>
                  <a:schemeClr val="tx1">
                    <a:lumMod val="50000"/>
                  </a:schemeClr>
                </a:solidFill>
                <a:latin typeface="Georgia" panose="02040502050405020303" pitchFamily="18" charset="0"/>
              </a:rPr>
              <a:t>retailers</a:t>
            </a:r>
            <a:r>
              <a:rPr lang="en-GB" sz="1600" dirty="0">
                <a:solidFill>
                  <a:schemeClr val="tx1">
                    <a:lumMod val="50000"/>
                  </a:schemeClr>
                </a:solidFill>
                <a:latin typeface="Georgia" panose="02040502050405020303" pitchFamily="18" charset="0"/>
              </a:rPr>
              <a:t> and </a:t>
            </a:r>
            <a:r>
              <a:rPr lang="en-GB" sz="1600" i="1" dirty="0">
                <a:solidFill>
                  <a:schemeClr val="tx1">
                    <a:lumMod val="50000"/>
                  </a:schemeClr>
                </a:solidFill>
                <a:latin typeface="Georgia" panose="02040502050405020303" pitchFamily="18" charset="0"/>
              </a:rPr>
              <a:t>preferred</a:t>
            </a:r>
            <a:r>
              <a:rPr lang="en-GB" sz="1600" dirty="0">
                <a:solidFill>
                  <a:schemeClr val="tx1">
                    <a:lumMod val="50000"/>
                  </a:schemeClr>
                </a:solidFill>
                <a:latin typeface="Georgia" panose="02040502050405020303" pitchFamily="18" charset="0"/>
              </a:rPr>
              <a:t> by </a:t>
            </a:r>
            <a:r>
              <a:rPr lang="en-GB" sz="1600" i="1" dirty="0">
                <a:solidFill>
                  <a:schemeClr val="tx1">
                    <a:lumMod val="50000"/>
                  </a:schemeClr>
                </a:solidFill>
                <a:latin typeface="Georgia" panose="02040502050405020303" pitchFamily="18" charset="0"/>
              </a:rPr>
              <a:t>shoppers</a:t>
            </a:r>
            <a:r>
              <a:rPr lang="en-GB" sz="1600" dirty="0">
                <a:solidFill>
                  <a:schemeClr val="tx1">
                    <a:lumMod val="50000"/>
                  </a:schemeClr>
                </a:solidFill>
                <a:latin typeface="Georgia" panose="02040502050405020303" pitchFamily="18" charset="0"/>
              </a:rPr>
              <a:t> to short term promotions. </a:t>
            </a:r>
          </a:p>
          <a:p>
            <a:pPr marL="342900" lvl="0" indent="-342900" fontAlgn="base">
              <a:buSzPts val="1100"/>
              <a:buFont typeface="Symbol" panose="05050102010706020507" pitchFamily="18" charset="2"/>
              <a:buChar char=""/>
            </a:pPr>
            <a:endParaRPr lang="en-GB" sz="1600" dirty="0">
              <a:solidFill>
                <a:schemeClr val="tx1">
                  <a:lumMod val="50000"/>
                </a:schemeClr>
              </a:solidFill>
              <a:latin typeface="Georgia" panose="02040502050405020303" pitchFamily="18" charset="0"/>
            </a:endParaRPr>
          </a:p>
          <a:p>
            <a:pPr marL="342900" lvl="0" indent="-342900" fontAlgn="base">
              <a:buSzPts val="1100"/>
              <a:buFont typeface="Symbol" panose="05050102010706020507" pitchFamily="18" charset="2"/>
              <a:buChar char=""/>
            </a:pPr>
            <a:r>
              <a:rPr lang="en-GB" sz="1600" dirty="0">
                <a:solidFill>
                  <a:schemeClr val="tx1">
                    <a:lumMod val="50000"/>
                  </a:schemeClr>
                </a:solidFill>
                <a:latin typeface="Georgia" panose="02040502050405020303" pitchFamily="18" charset="0"/>
              </a:rPr>
              <a:t>This also helps give shoppers more </a:t>
            </a:r>
            <a:r>
              <a:rPr lang="en-GB" sz="1600" b="1" i="1" dirty="0">
                <a:solidFill>
                  <a:schemeClr val="tx1">
                    <a:lumMod val="50000"/>
                  </a:schemeClr>
                </a:solidFill>
                <a:latin typeface="Georgia" panose="02040502050405020303" pitchFamily="18" charset="0"/>
              </a:rPr>
              <a:t>price transparency </a:t>
            </a:r>
            <a:r>
              <a:rPr lang="en-GB" sz="1600" dirty="0">
                <a:solidFill>
                  <a:schemeClr val="tx1">
                    <a:lumMod val="50000"/>
                  </a:schemeClr>
                </a:solidFill>
                <a:latin typeface="Georgia" panose="02040502050405020303" pitchFamily="18" charset="0"/>
              </a:rPr>
              <a:t>across different retailers which is important when prices are increasing.</a:t>
            </a:r>
            <a:endParaRPr lang="en-GB" sz="1600" dirty="0">
              <a:solidFill>
                <a:schemeClr val="tx1">
                  <a:lumMod val="50000"/>
                </a:schemeClr>
              </a:solidFill>
              <a:effectLst/>
              <a:latin typeface="Georgia" panose="02040502050405020303" pitchFamily="18" charset="0"/>
              <a:ea typeface="Times New Roman" panose="02020603050405020304" pitchFamily="18" charset="0"/>
            </a:endParaRPr>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251000" y="2241832"/>
            <a:ext cx="3684352" cy="2400687"/>
          </a:xfrm>
        </p:spPr>
        <p:txBody>
          <a:bodyPr/>
          <a:lstStyle/>
          <a:p>
            <a:pPr>
              <a:spcAft>
                <a:spcPts val="200"/>
              </a:spcAft>
            </a:pPr>
            <a:r>
              <a:rPr lang="en-GB" b="1" i="1" dirty="0">
                <a:solidFill>
                  <a:srgbClr val="000000"/>
                </a:solidFill>
                <a:latin typeface="Georgia" panose="02040502050405020303" pitchFamily="18" charset="0"/>
                <a:ea typeface="Times New Roman" panose="02020603050405020304" pitchFamily="18" charset="0"/>
                <a:cs typeface="Calibri" panose="020F0502020204030204" pitchFamily="34" charset="0"/>
              </a:rPr>
              <a:t>‘</a:t>
            </a:r>
            <a:r>
              <a:rPr lang="en-GB" sz="1600" b="1" i="1"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Lower prices</a:t>
            </a:r>
            <a:r>
              <a:rPr lang="en-GB" sz="1600" dirty="0">
                <a:solidFill>
                  <a:srgbClr val="000000"/>
                </a:solidFill>
                <a:effectLst/>
                <a:latin typeface="Georgia" panose="02040502050405020303" pitchFamily="18" charset="0"/>
                <a:ea typeface="Times New Roman" panose="02020603050405020304" pitchFamily="18" charset="0"/>
                <a:cs typeface="Calibri" panose="020F0502020204030204" pitchFamily="34" charset="0"/>
              </a:rPr>
              <a:t>’ for own label is expected to be the key messaging from all retailers over the next 4 to 6 months as shoppers continue to pay more for essential items and buy less overall when grocery shopping.</a:t>
            </a:r>
            <a:endParaRPr lang="en-US" dirty="0"/>
          </a:p>
        </p:txBody>
      </p:sp>
      <p:sp>
        <p:nvSpPr>
          <p:cNvPr id="6" name="Text Placeholder 5">
            <a:extLst>
              <a:ext uri="{FF2B5EF4-FFF2-40B4-BE49-F238E27FC236}">
                <a16:creationId xmlns:a16="http://schemas.microsoft.com/office/drawing/2014/main" id="{83D03CDE-3413-B4CF-8F01-098AF1EC83B0}"/>
              </a:ext>
            </a:extLst>
          </p:cNvPr>
          <p:cNvSpPr>
            <a:spLocks noGrp="1"/>
          </p:cNvSpPr>
          <p:nvPr>
            <p:ph type="body" sz="quarter" idx="16"/>
          </p:nvPr>
        </p:nvSpPr>
        <p:spPr>
          <a:xfrm>
            <a:off x="636287" y="1632208"/>
            <a:ext cx="3684352" cy="436542"/>
          </a:xfrm>
        </p:spPr>
        <p:txBody>
          <a:bodyPr anchor="t"/>
          <a:lstStyle/>
          <a:p>
            <a:r>
              <a:rPr lang="en-US" dirty="0">
                <a:solidFill>
                  <a:schemeClr val="tx1">
                    <a:lumMod val="50000"/>
                  </a:schemeClr>
                </a:solidFill>
                <a:latin typeface="Georgia" panose="02040502050405020303" pitchFamily="18" charset="0"/>
              </a:rPr>
              <a:t>Volume sales need to stabilise</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7"/>
          </p:nvPr>
        </p:nvSpPr>
        <p:spPr>
          <a:xfrm>
            <a:off x="4630389" y="1632208"/>
            <a:ext cx="3684352" cy="436542"/>
          </a:xfrm>
        </p:spPr>
        <p:txBody>
          <a:bodyPr anchor="t"/>
          <a:lstStyle/>
          <a:p>
            <a:r>
              <a:rPr lang="en-US" dirty="0">
                <a:solidFill>
                  <a:schemeClr val="tx1">
                    <a:lumMod val="50000"/>
                  </a:schemeClr>
                </a:solidFill>
                <a:latin typeface="Georgia" panose="02040502050405020303" pitchFamily="18" charset="0"/>
              </a:rPr>
              <a:t>Price Transparency</a:t>
            </a:r>
          </a:p>
        </p:txBody>
      </p:sp>
      <p:sp>
        <p:nvSpPr>
          <p:cNvPr id="8" name="Text Placeholder 7">
            <a:extLst>
              <a:ext uri="{FF2B5EF4-FFF2-40B4-BE49-F238E27FC236}">
                <a16:creationId xmlns:a16="http://schemas.microsoft.com/office/drawing/2014/main" id="{6C5E33AB-F956-3F29-23AB-16A1F20C4CF1}"/>
              </a:ext>
            </a:extLst>
          </p:cNvPr>
          <p:cNvSpPr>
            <a:spLocks noGrp="1"/>
          </p:cNvSpPr>
          <p:nvPr>
            <p:ph type="body" sz="quarter" idx="18"/>
          </p:nvPr>
        </p:nvSpPr>
        <p:spPr>
          <a:xfrm>
            <a:off x="8507648" y="1651528"/>
            <a:ext cx="3684352" cy="436542"/>
          </a:xfrm>
        </p:spPr>
        <p:txBody>
          <a:bodyPr anchor="t"/>
          <a:lstStyle/>
          <a:p>
            <a:r>
              <a:rPr lang="en-US" dirty="0">
                <a:solidFill>
                  <a:schemeClr val="tx1">
                    <a:lumMod val="50000"/>
                  </a:schemeClr>
                </a:solidFill>
                <a:latin typeface="Georgia" panose="02040502050405020303" pitchFamily="18" charset="0"/>
              </a:rPr>
              <a:t>OL the new battleground</a:t>
            </a:r>
          </a:p>
        </p:txBody>
      </p:sp>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9"/>
          </p:nvPr>
        </p:nvSpPr>
        <p:spPr/>
        <p:txBody>
          <a:bodyPr/>
          <a:lstStyle/>
          <a:p>
            <a:r>
              <a:rPr lang="en-US" dirty="0"/>
              <a:t>Source:  NielsenIQ Scantrack TSR, Homescan FMCG</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US" dirty="0">
                <a:solidFill>
                  <a:schemeClr val="tx1">
                    <a:lumMod val="50000"/>
                  </a:schemeClr>
                </a:solidFill>
              </a:rPr>
              <a:t>Shoppers will remain promiscuous as they continue to look for the cheapest prices</a:t>
            </a:r>
          </a:p>
        </p:txBody>
      </p:sp>
      <p:cxnSp>
        <p:nvCxnSpPr>
          <p:cNvPr id="18" name="Straight Connector 17">
            <a:extLst>
              <a:ext uri="{FF2B5EF4-FFF2-40B4-BE49-F238E27FC236}">
                <a16:creationId xmlns:a16="http://schemas.microsoft.com/office/drawing/2014/main" id="{6DBEB505-C2B4-3BA8-65C8-D5B0BA930D5A}"/>
              </a:ext>
            </a:extLst>
          </p:cNvPr>
          <p:cNvCxnSpPr>
            <a:cxnSpLocks/>
          </p:cNvCxnSpPr>
          <p:nvPr/>
        </p:nvCxnSpPr>
        <p:spPr>
          <a:xfrm>
            <a:off x="314316" y="1935730"/>
            <a:ext cx="11582399" cy="3115"/>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0F3EA6A5-7B7F-7A7D-2D7E-23A7CAD6ACCB}"/>
              </a:ext>
            </a:extLst>
          </p:cNvPr>
          <p:cNvSpPr/>
          <p:nvPr/>
        </p:nvSpPr>
        <p:spPr>
          <a:xfrm>
            <a:off x="288558" y="1841808"/>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20" name="Oval 19">
            <a:extLst>
              <a:ext uri="{FF2B5EF4-FFF2-40B4-BE49-F238E27FC236}">
                <a16:creationId xmlns:a16="http://schemas.microsoft.com/office/drawing/2014/main" id="{BBF444F9-768D-FFEC-268C-F05CECF0D070}"/>
              </a:ext>
            </a:extLst>
          </p:cNvPr>
          <p:cNvSpPr/>
          <p:nvPr/>
        </p:nvSpPr>
        <p:spPr>
          <a:xfrm>
            <a:off x="4301242" y="1816050"/>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21" name="Oval 20">
            <a:extLst>
              <a:ext uri="{FF2B5EF4-FFF2-40B4-BE49-F238E27FC236}">
                <a16:creationId xmlns:a16="http://schemas.microsoft.com/office/drawing/2014/main" id="{D4A8E8E6-7CE5-5693-4CD3-00BC7D57C0E7}"/>
              </a:ext>
            </a:extLst>
          </p:cNvPr>
          <p:cNvSpPr/>
          <p:nvPr/>
        </p:nvSpPr>
        <p:spPr>
          <a:xfrm>
            <a:off x="8182652" y="1841808"/>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27429183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4B0C96-8660-4602-D9A8-DB8CD063C851}"/>
              </a:ext>
            </a:extLst>
          </p:cNvPr>
          <p:cNvSpPr>
            <a:spLocks noGrp="1"/>
          </p:cNvSpPr>
          <p:nvPr>
            <p:ph type="ctrTitle"/>
          </p:nvPr>
        </p:nvSpPr>
        <p:spPr>
          <a:xfrm>
            <a:off x="288559" y="1671355"/>
            <a:ext cx="5023670" cy="1757645"/>
          </a:xfrm>
        </p:spPr>
        <p:txBody>
          <a:bodyPr/>
          <a:lstStyle/>
          <a:p>
            <a:r>
              <a:rPr lang="en-US" dirty="0"/>
              <a:t>Valentine’s Special</a:t>
            </a:r>
          </a:p>
        </p:txBody>
      </p:sp>
      <p:sp>
        <p:nvSpPr>
          <p:cNvPr id="4" name="Slide Number Placeholder 3">
            <a:extLst>
              <a:ext uri="{FF2B5EF4-FFF2-40B4-BE49-F238E27FC236}">
                <a16:creationId xmlns:a16="http://schemas.microsoft.com/office/drawing/2014/main" id="{4F17E509-BDA7-0A93-8495-E47D7FEF06CE}"/>
              </a:ext>
            </a:extLst>
          </p:cNvPr>
          <p:cNvSpPr>
            <a:spLocks noGrp="1"/>
          </p:cNvSpPr>
          <p:nvPr>
            <p:ph type="sldNum" sz="quarter" idx="4"/>
          </p:nvPr>
        </p:nvSpPr>
        <p:spPr/>
        <p:txBody>
          <a:bodyPr/>
          <a:lstStyle/>
          <a:p>
            <a:fld id="{403EF4E2-7A7A-0548-85F1-5479B7C9E1B2}" type="slidenum">
              <a:rPr lang="en-US" smtClean="0"/>
              <a:pPr/>
              <a:t>44</a:t>
            </a:fld>
            <a:endParaRPr lang="en-US" dirty="0"/>
          </a:p>
        </p:txBody>
      </p:sp>
      <p:sp>
        <p:nvSpPr>
          <p:cNvPr id="3" name="Subtitle 1">
            <a:extLst>
              <a:ext uri="{FF2B5EF4-FFF2-40B4-BE49-F238E27FC236}">
                <a16:creationId xmlns:a16="http://schemas.microsoft.com/office/drawing/2014/main" id="{EF1E8475-D7AC-A944-1575-088B8B8849A7}"/>
              </a:ext>
            </a:extLst>
          </p:cNvPr>
          <p:cNvSpPr>
            <a:spLocks noGrp="1"/>
          </p:cNvSpPr>
          <p:nvPr>
            <p:ph type="subTitle" idx="1"/>
          </p:nvPr>
        </p:nvSpPr>
        <p:spPr>
          <a:xfrm>
            <a:off x="373868" y="6016115"/>
            <a:ext cx="8159100" cy="184800"/>
          </a:xfrm>
        </p:spPr>
        <p:txBody>
          <a:bodyPr/>
          <a:lstStyle/>
          <a:p>
            <a:pPr marL="114300">
              <a:spcBef>
                <a:spcPct val="0"/>
              </a:spcBef>
            </a:pPr>
            <a:r>
              <a:rPr lang="en-GB" altLang="en-US" sz="700" dirty="0"/>
              <a:t>Source:  NielsenIQ Scantrack  week ending 18</a:t>
            </a:r>
            <a:r>
              <a:rPr lang="en-GB" altLang="en-US" sz="700" baseline="30000" dirty="0"/>
              <a:t>th</a:t>
            </a:r>
            <a:r>
              <a:rPr lang="en-GB" altLang="en-US" sz="700" dirty="0"/>
              <a:t> February 2023 vs 19</a:t>
            </a:r>
            <a:r>
              <a:rPr lang="en-GB" altLang="en-US" sz="700" baseline="30000" dirty="0"/>
              <a:t>th</a:t>
            </a:r>
            <a:r>
              <a:rPr lang="en-GB" altLang="en-US" sz="700" dirty="0"/>
              <a:t> February 2022</a:t>
            </a:r>
          </a:p>
          <a:p>
            <a:pPr marL="114300">
              <a:spcBef>
                <a:spcPct val="0"/>
              </a:spcBef>
            </a:pPr>
            <a:r>
              <a:rPr lang="en-GB" altLang="en-US" sz="700" dirty="0"/>
              <a:t>Homescan SOTN Survey Feb 2021</a:t>
            </a:r>
            <a:endParaRPr lang="en-PH" dirty="0"/>
          </a:p>
        </p:txBody>
      </p:sp>
      <p:sp>
        <p:nvSpPr>
          <p:cNvPr id="5" name="Text Placeholder 3">
            <a:extLst>
              <a:ext uri="{FF2B5EF4-FFF2-40B4-BE49-F238E27FC236}">
                <a16:creationId xmlns:a16="http://schemas.microsoft.com/office/drawing/2014/main" id="{7F9D7DD4-61A0-F7F1-4ACC-9980D459F32A}"/>
              </a:ext>
            </a:extLst>
          </p:cNvPr>
          <p:cNvSpPr txBox="1">
            <a:spLocks/>
          </p:cNvSpPr>
          <p:nvPr/>
        </p:nvSpPr>
        <p:spPr>
          <a:xfrm>
            <a:off x="373868" y="5075747"/>
            <a:ext cx="7560840" cy="533399"/>
          </a:xfrm>
          <a:prstGeom prst="rect">
            <a:avLst/>
          </a:prstGeom>
          <a:noFill/>
          <a:ln>
            <a:noFill/>
          </a:ln>
        </p:spPr>
        <p:txBody>
          <a:bodyPr spcFirstLastPara="1" wrap="square" lIns="0" tIns="91425" rIns="0" bIns="91425" anchor="b" anchorCtr="0">
            <a:noAutofit/>
          </a:bodyPr>
          <a:lstStyle>
            <a:defPPr marR="0" lvl="0" algn="l" rtl="0">
              <a:lnSpc>
                <a:spcPct val="100000"/>
              </a:lnSpc>
              <a:spcBef>
                <a:spcPts val="0"/>
              </a:spcBef>
              <a:spcAft>
                <a:spcPts val="0"/>
              </a:spcAft>
            </a:defPPr>
            <a:lvl1pPr marL="0" marR="0" lvl="0" indent="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Avenir Next LT Pro" panose="020B0504020202020204" pitchFamily="34" charset="0"/>
                <a:ea typeface="Montserrat"/>
                <a:cs typeface="Montserrat"/>
                <a:sym typeface="Montserrat"/>
              </a:defRPr>
            </a:lvl1pPr>
            <a:lvl2pPr marL="914400" marR="0" lvl="1" indent="-3048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2pPr>
            <a:lvl3pPr marL="1371600" marR="0" lvl="2"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3pPr>
            <a:lvl4pPr marL="1828800" marR="0" lvl="3"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4pPr>
            <a:lvl5pPr marL="2286000" marR="0" lvl="4"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5pPr>
            <a:lvl6pPr marL="2743200" marR="0" lvl="5"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6pPr>
            <a:lvl7pPr marL="3200400" marR="0" lvl="6"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7pPr>
            <a:lvl8pPr marL="3657600" marR="0" lvl="7"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8pPr>
            <a:lvl9pPr marL="4114800" marR="0" lvl="8" indent="-292100" algn="l" rtl="0">
              <a:lnSpc>
                <a:spcPct val="100000"/>
              </a:lnSpc>
              <a:spcBef>
                <a:spcPts val="0"/>
              </a:spcBef>
              <a:spcAft>
                <a:spcPts val="0"/>
              </a:spcAft>
              <a:buClr>
                <a:schemeClr val="accent5"/>
              </a:buClr>
              <a:buSzPts val="600"/>
              <a:buFont typeface="Montserrat"/>
              <a:buNone/>
              <a:defRPr sz="600" b="0" i="0" u="none" strike="noStrike" cap="none">
                <a:solidFill>
                  <a:schemeClr val="accent5"/>
                </a:solidFill>
                <a:latin typeface="Montserrat"/>
                <a:ea typeface="Montserrat"/>
                <a:cs typeface="Montserrat"/>
                <a:sym typeface="Montserrat"/>
              </a:defRPr>
            </a:lvl9pPr>
          </a:lstStyle>
          <a:p>
            <a:pPr marL="114300">
              <a:spcBef>
                <a:spcPct val="0"/>
              </a:spcBef>
            </a:pPr>
            <a:r>
              <a:rPr lang="en-GB" altLang="en-US" sz="800" dirty="0">
                <a:solidFill>
                  <a:schemeClr val="bg1"/>
                </a:solidFill>
                <a:latin typeface="+mn-lt"/>
              </a:rPr>
              <a:t>Valentine’s Day 2022 was on a Monday, so some spend was brought forward into the prior week.</a:t>
            </a:r>
          </a:p>
          <a:p>
            <a:pPr marL="114300">
              <a:spcBef>
                <a:spcPct val="0"/>
              </a:spcBef>
            </a:pPr>
            <a:r>
              <a:rPr lang="en-GB" altLang="en-US" sz="800" dirty="0">
                <a:solidFill>
                  <a:schemeClr val="bg1"/>
                </a:solidFill>
                <a:latin typeface="+mn-lt"/>
              </a:rPr>
              <a:t>Valentine’s Day 2023 was on a Tuesday and sales mostly fell in Valentine’s week</a:t>
            </a:r>
          </a:p>
          <a:p>
            <a:pPr marL="114300">
              <a:spcBef>
                <a:spcPct val="0"/>
              </a:spcBef>
            </a:pPr>
            <a:endParaRPr lang="en-GB" altLang="en-US" sz="800" dirty="0">
              <a:solidFill>
                <a:schemeClr val="bg1"/>
              </a:solidFill>
              <a:latin typeface="+mn-lt"/>
            </a:endParaRPr>
          </a:p>
        </p:txBody>
      </p:sp>
    </p:spTree>
    <p:extLst>
      <p:ext uri="{BB962C8B-B14F-4D97-AF65-F5344CB8AC3E}">
        <p14:creationId xmlns:p14="http://schemas.microsoft.com/office/powerpoint/2010/main" val="11405111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14316" y="3300934"/>
            <a:ext cx="3503952" cy="2390972"/>
          </a:xfrm>
        </p:spPr>
        <p:txBody>
          <a:bodyPr/>
          <a:lstStyle/>
          <a:p>
            <a:r>
              <a:rPr lang="en-US" sz="2400" dirty="0"/>
              <a:t>Shoppers continue to </a:t>
            </a:r>
            <a:r>
              <a:rPr lang="en-US" sz="2400" b="0" i="1" dirty="0">
                <a:latin typeface="Georgia" panose="02040502050405020303" pitchFamily="18" charset="0"/>
              </a:rPr>
              <a:t>spend more </a:t>
            </a:r>
            <a:r>
              <a:rPr lang="en-US" sz="2400" dirty="0"/>
              <a:t>on </a:t>
            </a:r>
            <a:r>
              <a:rPr lang="en-US" sz="2400" b="0" dirty="0">
                <a:latin typeface="Georgia" panose="02040502050405020303" pitchFamily="18" charset="0"/>
              </a:rPr>
              <a:t>events that matter</a:t>
            </a:r>
            <a:r>
              <a:rPr lang="en-US" sz="2400" dirty="0"/>
              <a:t>. </a:t>
            </a:r>
            <a:br>
              <a:rPr lang="en-US" sz="2400" dirty="0"/>
            </a:br>
            <a:br>
              <a:rPr lang="en-US" sz="2400" dirty="0"/>
            </a:br>
            <a:r>
              <a:rPr lang="en-US" sz="2400" dirty="0"/>
              <a:t>This year more was spent on </a:t>
            </a:r>
            <a:r>
              <a:rPr lang="en-US" sz="2400" b="0" dirty="0">
                <a:latin typeface="Georgia" panose="02040502050405020303" pitchFamily="18" charset="0"/>
              </a:rPr>
              <a:t>Greeting Cards</a:t>
            </a:r>
            <a:r>
              <a:rPr lang="en-US" sz="2400" dirty="0"/>
              <a:t>, which may reflect </a:t>
            </a:r>
            <a:r>
              <a:rPr lang="en-US" sz="2400" b="0" dirty="0"/>
              <a:t>more inclusivity</a:t>
            </a:r>
            <a:r>
              <a:rPr lang="en-US" sz="2400" dirty="0"/>
              <a:t> as the </a:t>
            </a:r>
            <a:r>
              <a:rPr lang="en-US" sz="2400" b="0" i="1" dirty="0">
                <a:latin typeface="Georgia" panose="02040502050405020303" pitchFamily="18" charset="0"/>
              </a:rPr>
              <a:t>event widens</a:t>
            </a:r>
            <a:r>
              <a:rPr lang="en-US" sz="2400" dirty="0"/>
              <a:t> to include </a:t>
            </a:r>
            <a:r>
              <a:rPr lang="en-US" sz="2400" b="0" dirty="0">
                <a:latin typeface="Georgia" panose="02040502050405020303" pitchFamily="18" charset="0"/>
              </a:rPr>
              <a:t>‘Pal’, ‘Gal’ </a:t>
            </a:r>
            <a:r>
              <a:rPr lang="en-US" sz="2400" dirty="0"/>
              <a:t>as well as </a:t>
            </a:r>
            <a:r>
              <a:rPr lang="en-US" sz="2400" b="0" dirty="0">
                <a:latin typeface="Georgia" panose="02040502050405020303" pitchFamily="18" charset="0"/>
              </a:rPr>
              <a:t>Valentines.</a:t>
            </a:r>
            <a:endParaRPr lang="en-US" sz="2400" b="0" i="1" dirty="0">
              <a:latin typeface="Georgia" panose="02040502050405020303" pitchFamily="18" charset="0"/>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NielsenIQ Scantrack and *Homescan SOTN Survey</a:t>
            </a:r>
          </a:p>
        </p:txBody>
      </p:sp>
      <p:graphicFrame>
        <p:nvGraphicFramePr>
          <p:cNvPr id="5" name="Table 5">
            <a:extLst>
              <a:ext uri="{FF2B5EF4-FFF2-40B4-BE49-F238E27FC236}">
                <a16:creationId xmlns:a16="http://schemas.microsoft.com/office/drawing/2014/main" id="{7EB17AA3-B422-1404-6524-D72172CB0A87}"/>
              </a:ext>
            </a:extLst>
          </p:cNvPr>
          <p:cNvGraphicFramePr>
            <a:graphicFrameLocks noGrp="1"/>
          </p:cNvGraphicFramePr>
          <p:nvPr>
            <p:extLst>
              <p:ext uri="{D42A27DB-BD31-4B8C-83A1-F6EECF244321}">
                <p14:modId xmlns:p14="http://schemas.microsoft.com/office/powerpoint/2010/main" val="806790283"/>
              </p:ext>
            </p:extLst>
          </p:nvPr>
        </p:nvGraphicFramePr>
        <p:xfrm>
          <a:off x="4154154" y="2059067"/>
          <a:ext cx="7469031" cy="3383280"/>
        </p:xfrm>
        <a:graphic>
          <a:graphicData uri="http://schemas.openxmlformats.org/drawingml/2006/table">
            <a:tbl>
              <a:tblPr firstRow="1" bandRow="1">
                <a:tableStyleId>{5C22544A-7EE6-4342-B048-85BDC9FD1C3A}</a:tableStyleId>
              </a:tblPr>
              <a:tblGrid>
                <a:gridCol w="2489677">
                  <a:extLst>
                    <a:ext uri="{9D8B030D-6E8A-4147-A177-3AD203B41FA5}">
                      <a16:colId xmlns:a16="http://schemas.microsoft.com/office/drawing/2014/main" val="1559275370"/>
                    </a:ext>
                  </a:extLst>
                </a:gridCol>
                <a:gridCol w="2489677">
                  <a:extLst>
                    <a:ext uri="{9D8B030D-6E8A-4147-A177-3AD203B41FA5}">
                      <a16:colId xmlns:a16="http://schemas.microsoft.com/office/drawing/2014/main" val="3355011337"/>
                    </a:ext>
                  </a:extLst>
                </a:gridCol>
                <a:gridCol w="2489677">
                  <a:extLst>
                    <a:ext uri="{9D8B030D-6E8A-4147-A177-3AD203B41FA5}">
                      <a16:colId xmlns:a16="http://schemas.microsoft.com/office/drawing/2014/main" val="2728288147"/>
                    </a:ext>
                  </a:extLst>
                </a:gridCol>
              </a:tblGrid>
              <a:tr h="1501165">
                <a:tc>
                  <a:txBody>
                    <a:bodyPr/>
                    <a:lstStyle/>
                    <a:p>
                      <a:r>
                        <a:rPr lang="en-GB" sz="1400" b="0" dirty="0">
                          <a:solidFill>
                            <a:schemeClr val="tx2"/>
                          </a:solidFill>
                          <a:latin typeface="+mn-lt"/>
                        </a:rPr>
                        <a:t>Valentine’s Day was on a </a:t>
                      </a:r>
                      <a:r>
                        <a:rPr lang="en-GB" sz="1400" b="1" dirty="0">
                          <a:solidFill>
                            <a:schemeClr val="tx2"/>
                          </a:solidFill>
                          <a:latin typeface="+mn-lt"/>
                        </a:rPr>
                        <a:t>Tuesday</a:t>
                      </a:r>
                      <a:r>
                        <a:rPr lang="en-GB" sz="1400" b="0" dirty="0">
                          <a:solidFill>
                            <a:schemeClr val="tx2"/>
                          </a:solidFill>
                          <a:latin typeface="+mn-lt"/>
                        </a:rPr>
                        <a:t> this year, and Valentine’s related sales mainly fell in w/e 18</a:t>
                      </a:r>
                      <a:r>
                        <a:rPr lang="en-GB" sz="1400" b="0" baseline="30000" dirty="0">
                          <a:solidFill>
                            <a:schemeClr val="tx2"/>
                          </a:solidFill>
                          <a:latin typeface="+mn-lt"/>
                        </a:rPr>
                        <a:t>th</a:t>
                      </a:r>
                      <a:r>
                        <a:rPr lang="en-GB" sz="1400" b="0" dirty="0">
                          <a:solidFill>
                            <a:schemeClr val="tx2"/>
                          </a:solidFill>
                          <a:latin typeface="+mn-lt"/>
                        </a:rPr>
                        <a:t> February at the Grocery Multiples.</a:t>
                      </a:r>
                    </a:p>
                  </a:txBody>
                  <a:tcPr>
                    <a:solidFill>
                      <a:schemeClr val="accent6">
                        <a:lumMod val="60000"/>
                        <a:lumOff val="40000"/>
                      </a:schemeClr>
                    </a:solidFill>
                  </a:tcPr>
                </a:tc>
                <a:tc>
                  <a:txBody>
                    <a:bodyPr/>
                    <a:lstStyle/>
                    <a:p>
                      <a:r>
                        <a:rPr lang="en-GB" sz="1400" b="0" dirty="0">
                          <a:solidFill>
                            <a:schemeClr val="tx2"/>
                          </a:solidFill>
                          <a:latin typeface="+mn-lt"/>
                        </a:rPr>
                        <a:t>Typically </a:t>
                      </a:r>
                      <a:r>
                        <a:rPr lang="en-GB" sz="1400" b="1" dirty="0">
                          <a:solidFill>
                            <a:schemeClr val="tx2"/>
                          </a:solidFill>
                          <a:latin typeface="+mn-lt"/>
                        </a:rPr>
                        <a:t>17%</a:t>
                      </a:r>
                      <a:r>
                        <a:rPr lang="en-GB" sz="1400" b="0" dirty="0">
                          <a:solidFill>
                            <a:schemeClr val="tx2"/>
                          </a:solidFill>
                          <a:latin typeface="+mn-lt"/>
                        </a:rPr>
                        <a:t> of shoppers </a:t>
                      </a:r>
                      <a:r>
                        <a:rPr lang="en-GB" sz="1400" b="1" i="0" dirty="0">
                          <a:solidFill>
                            <a:schemeClr val="tx2"/>
                          </a:solidFill>
                          <a:latin typeface="+mn-lt"/>
                        </a:rPr>
                        <a:t>celebrate the occasion</a:t>
                      </a:r>
                      <a:r>
                        <a:rPr lang="en-GB" sz="1400" b="0" dirty="0">
                          <a:solidFill>
                            <a:schemeClr val="tx2"/>
                          </a:solidFill>
                          <a:latin typeface="+mn-lt"/>
                        </a:rPr>
                        <a:t>, this rises for households with families.</a:t>
                      </a:r>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chemeClr val="tx2"/>
                          </a:solidFill>
                          <a:latin typeface="+mn-lt"/>
                          <a:ea typeface="Montserrat"/>
                          <a:cs typeface="Montserrat"/>
                          <a:sym typeface="Montserrat"/>
                        </a:rPr>
                        <a:t>Shoppers spent </a:t>
                      </a:r>
                      <a:r>
                        <a:rPr lang="en-GB" sz="1400" b="1" dirty="0">
                          <a:solidFill>
                            <a:schemeClr val="tx2"/>
                          </a:solidFill>
                          <a:latin typeface="+mn-lt"/>
                          <a:ea typeface="Montserrat"/>
                          <a:cs typeface="Montserrat"/>
                          <a:sym typeface="Montserrat"/>
                        </a:rPr>
                        <a:t>17.5% more </a:t>
                      </a:r>
                      <a:r>
                        <a:rPr lang="en-GB" sz="1400" b="0" dirty="0">
                          <a:solidFill>
                            <a:schemeClr val="tx2"/>
                          </a:solidFill>
                          <a:latin typeface="+mn-lt"/>
                          <a:ea typeface="Montserrat"/>
                          <a:cs typeface="Montserrat"/>
                          <a:sym typeface="Montserrat"/>
                        </a:rPr>
                        <a:t>than last year on Valentine’s related items which </a:t>
                      </a:r>
                      <a:r>
                        <a:rPr lang="en-GB" sz="1400" b="1" dirty="0">
                          <a:solidFill>
                            <a:schemeClr val="tx2"/>
                          </a:solidFill>
                          <a:latin typeface="+mn-lt"/>
                          <a:ea typeface="Montserrat"/>
                          <a:cs typeface="Montserrat"/>
                          <a:sym typeface="Montserrat"/>
                        </a:rPr>
                        <a:t>contributed to 10.5% of Total Store Sales</a:t>
                      </a:r>
                      <a:r>
                        <a:rPr lang="en-GB" sz="1400" b="0" dirty="0">
                          <a:solidFill>
                            <a:schemeClr val="tx2"/>
                          </a:solidFill>
                          <a:latin typeface="+mn-lt"/>
                          <a:ea typeface="Montserrat"/>
                          <a:cs typeface="Montserrat"/>
                          <a:sym typeface="Montserrat"/>
                        </a:rPr>
                        <a:t>, in the week ending to 18</a:t>
                      </a:r>
                      <a:r>
                        <a:rPr lang="en-GB" sz="1400" b="0" baseline="30000" dirty="0">
                          <a:solidFill>
                            <a:schemeClr val="tx2"/>
                          </a:solidFill>
                          <a:latin typeface="+mn-lt"/>
                          <a:ea typeface="Montserrat"/>
                          <a:cs typeface="Montserrat"/>
                          <a:sym typeface="Montserrat"/>
                        </a:rPr>
                        <a:t>th</a:t>
                      </a:r>
                      <a:r>
                        <a:rPr lang="en-GB" sz="1400" b="0" dirty="0">
                          <a:solidFill>
                            <a:schemeClr val="tx2"/>
                          </a:solidFill>
                          <a:latin typeface="+mn-lt"/>
                          <a:ea typeface="Montserrat"/>
                          <a:cs typeface="Montserrat"/>
                          <a:sym typeface="Montserrat"/>
                        </a:rPr>
                        <a:t> February 2023.</a:t>
                      </a:r>
                    </a:p>
                    <a:p>
                      <a:endParaRPr lang="en-GB" sz="1400" dirty="0">
                        <a:solidFill>
                          <a:schemeClr val="tx2"/>
                        </a:solidFill>
                        <a:latin typeface="+mn-lt"/>
                      </a:endParaRPr>
                    </a:p>
                  </a:txBody>
                  <a:tcPr>
                    <a:solidFill>
                      <a:schemeClr val="accent6">
                        <a:lumMod val="60000"/>
                        <a:lumOff val="40000"/>
                      </a:schemeClr>
                    </a:solidFill>
                  </a:tcPr>
                </a:tc>
                <a:extLst>
                  <a:ext uri="{0D108BD9-81ED-4DB2-BD59-A6C34878D82A}">
                    <a16:rowId xmlns:a16="http://schemas.microsoft.com/office/drawing/2014/main" val="1797595031"/>
                  </a:ext>
                </a:extLst>
              </a:tr>
              <a:tr h="15011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2"/>
                          </a:solidFill>
                          <a:latin typeface="+mn-lt"/>
                          <a:ea typeface="Montserrat"/>
                          <a:cs typeface="Montserrat"/>
                          <a:sym typeface="Montserrat"/>
                        </a:rPr>
                        <a:t>The </a:t>
                      </a:r>
                      <a:r>
                        <a:rPr lang="en-GB" sz="1400" b="1" dirty="0">
                          <a:solidFill>
                            <a:schemeClr val="tx2"/>
                          </a:solidFill>
                          <a:latin typeface="+mn-lt"/>
                          <a:ea typeface="Montserrat"/>
                          <a:cs typeface="Montserrat"/>
                          <a:sym typeface="Montserrat"/>
                        </a:rPr>
                        <a:t>top 8 categories </a:t>
                      </a:r>
                      <a:r>
                        <a:rPr lang="en-GB" sz="1400" dirty="0">
                          <a:solidFill>
                            <a:schemeClr val="tx2"/>
                          </a:solidFill>
                          <a:latin typeface="+mn-lt"/>
                          <a:ea typeface="Montserrat"/>
                          <a:cs typeface="Montserrat"/>
                          <a:sym typeface="Montserrat"/>
                        </a:rPr>
                        <a:t>contributed 76% to overall Valentine’s spend, which is similar to last year.</a:t>
                      </a:r>
                    </a:p>
                    <a:p>
                      <a:endParaRPr lang="en-GB" sz="1400" dirty="0">
                        <a:solidFill>
                          <a:schemeClr val="tx2"/>
                        </a:solidFill>
                        <a:latin typeface="+mn-lt"/>
                      </a:endParaRPr>
                    </a:p>
                  </a:txBody>
                  <a:tcPr>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tx2"/>
                          </a:solidFill>
                          <a:latin typeface="+mn-lt"/>
                          <a:ea typeface="Montserrat"/>
                          <a:cs typeface="Montserrat"/>
                          <a:sym typeface="Montserrat"/>
                        </a:rPr>
                        <a:t>Over half </a:t>
                      </a:r>
                      <a:r>
                        <a:rPr lang="en-GB" sz="1400" dirty="0">
                          <a:solidFill>
                            <a:schemeClr val="tx2"/>
                          </a:solidFill>
                          <a:latin typeface="+mn-lt"/>
                          <a:ea typeface="Montserrat"/>
                          <a:cs typeface="Montserrat"/>
                          <a:sym typeface="Montserrat"/>
                        </a:rPr>
                        <a:t>of the money spent in the Grocery Multiples on Valentine’s day was </a:t>
                      </a:r>
                      <a:r>
                        <a:rPr lang="en-GB" sz="1400" b="1" dirty="0">
                          <a:solidFill>
                            <a:schemeClr val="tx2"/>
                          </a:solidFill>
                          <a:latin typeface="+mn-lt"/>
                          <a:ea typeface="Montserrat"/>
                          <a:cs typeface="Montserrat"/>
                          <a:sym typeface="Montserrat"/>
                        </a:rPr>
                        <a:t>spent on Celebration Food</a:t>
                      </a:r>
                      <a:r>
                        <a:rPr lang="en-GB" sz="1400" dirty="0">
                          <a:solidFill>
                            <a:schemeClr val="tx2"/>
                          </a:solidFill>
                          <a:latin typeface="+mn-lt"/>
                          <a:ea typeface="Montserrat"/>
                          <a:cs typeface="Montserrat"/>
                          <a:sym typeface="Montserrat"/>
                        </a:rPr>
                        <a:t>.</a:t>
                      </a:r>
                    </a:p>
                    <a:p>
                      <a:endParaRPr lang="en-GB" sz="1400" dirty="0">
                        <a:solidFill>
                          <a:schemeClr val="tx2"/>
                        </a:solidFill>
                        <a:latin typeface="+mn-lt"/>
                      </a:endParaRPr>
                    </a:p>
                  </a:txBody>
                  <a:tcPr>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2"/>
                          </a:solidFill>
                          <a:latin typeface="+mn-lt"/>
                          <a:ea typeface="Montserrat"/>
                          <a:cs typeface="Montserrat"/>
                          <a:sym typeface="Montserrat"/>
                        </a:rPr>
                        <a:t>Shoppers continue to treat loved ones.   Shoppers spent </a:t>
                      </a:r>
                      <a:r>
                        <a:rPr lang="en-GB" sz="1400" b="1" dirty="0">
                          <a:solidFill>
                            <a:schemeClr val="tx2"/>
                          </a:solidFill>
                          <a:latin typeface="+mn-lt"/>
                          <a:ea typeface="Montserrat"/>
                          <a:cs typeface="Montserrat"/>
                          <a:sym typeface="Montserrat"/>
                        </a:rPr>
                        <a:t>£43m on Cut Mixed Flowers &amp; Roses, </a:t>
                      </a:r>
                      <a:r>
                        <a:rPr lang="en-GB" sz="1400" b="0" dirty="0">
                          <a:solidFill>
                            <a:schemeClr val="tx2"/>
                          </a:solidFill>
                          <a:latin typeface="+mn-lt"/>
                          <a:ea typeface="Montserrat"/>
                          <a:cs typeface="Montserrat"/>
                          <a:sym typeface="Montserrat"/>
                        </a:rPr>
                        <a:t>and </a:t>
                      </a:r>
                      <a:r>
                        <a:rPr lang="en-GB" sz="1400" b="1" dirty="0">
                          <a:solidFill>
                            <a:schemeClr val="tx2"/>
                          </a:solidFill>
                          <a:latin typeface="+mn-lt"/>
                          <a:ea typeface="Montserrat"/>
                          <a:cs typeface="Montserrat"/>
                          <a:sym typeface="Montserrat"/>
                        </a:rPr>
                        <a:t>£18m </a:t>
                      </a:r>
                      <a:r>
                        <a:rPr lang="en-GB" sz="1400" b="0" dirty="0">
                          <a:solidFill>
                            <a:schemeClr val="tx2"/>
                          </a:solidFill>
                          <a:latin typeface="+mn-lt"/>
                          <a:ea typeface="Montserrat"/>
                          <a:cs typeface="Montserrat"/>
                          <a:sym typeface="Montserrat"/>
                        </a:rPr>
                        <a:t>on </a:t>
                      </a:r>
                      <a:r>
                        <a:rPr lang="en-GB" sz="1400" b="1" dirty="0">
                          <a:solidFill>
                            <a:schemeClr val="tx2"/>
                          </a:solidFill>
                          <a:latin typeface="+mn-lt"/>
                          <a:ea typeface="Montserrat"/>
                          <a:cs typeface="Montserrat"/>
                          <a:sym typeface="Montserrat"/>
                        </a:rPr>
                        <a:t>Greetings Cards </a:t>
                      </a:r>
                      <a:r>
                        <a:rPr lang="en-GB" sz="1400" dirty="0">
                          <a:solidFill>
                            <a:schemeClr val="tx2"/>
                          </a:solidFill>
                          <a:latin typeface="+mn-lt"/>
                          <a:ea typeface="Montserrat"/>
                          <a:cs typeface="Montserrat"/>
                          <a:sym typeface="Montserrat"/>
                        </a:rPr>
                        <a:t>during Valentine’s week.</a:t>
                      </a:r>
                    </a:p>
                    <a:p>
                      <a:endParaRPr lang="en-GB" sz="1400" dirty="0">
                        <a:solidFill>
                          <a:schemeClr val="tx2"/>
                        </a:solidFill>
                        <a:latin typeface="+mn-lt"/>
                      </a:endParaRPr>
                    </a:p>
                  </a:txBody>
                  <a:tcPr>
                    <a:solidFill>
                      <a:schemeClr val="accent6">
                        <a:lumMod val="75000"/>
                      </a:schemeClr>
                    </a:solidFill>
                  </a:tcPr>
                </a:tc>
                <a:extLst>
                  <a:ext uri="{0D108BD9-81ED-4DB2-BD59-A6C34878D82A}">
                    <a16:rowId xmlns:a16="http://schemas.microsoft.com/office/drawing/2014/main" val="970589027"/>
                  </a:ext>
                </a:extLst>
              </a:tr>
            </a:tbl>
          </a:graphicData>
        </a:graphic>
      </p:graphicFrame>
    </p:spTree>
    <p:extLst>
      <p:ext uri="{BB962C8B-B14F-4D97-AF65-F5344CB8AC3E}">
        <p14:creationId xmlns:p14="http://schemas.microsoft.com/office/powerpoint/2010/main" val="37705633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6</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27195" y="1542966"/>
            <a:ext cx="3503952" cy="2390972"/>
          </a:xfrm>
        </p:spPr>
        <p:txBody>
          <a:bodyPr/>
          <a:lstStyle/>
          <a:p>
            <a:r>
              <a:rPr lang="en-US" sz="2800" dirty="0"/>
              <a:t>Shoppers spent more on </a:t>
            </a:r>
            <a:r>
              <a:rPr lang="en-US" sz="2800" b="0" i="1" dirty="0">
                <a:latin typeface="Georgia" panose="02040502050405020303" pitchFamily="18" charset="0"/>
              </a:rPr>
              <a:t>celebratory food </a:t>
            </a:r>
            <a:r>
              <a:rPr lang="en-US" sz="2800" dirty="0"/>
              <a:t>than gifts</a:t>
            </a:r>
            <a:endParaRPr lang="en-US" sz="2800" b="0" i="1" dirty="0">
              <a:latin typeface="Georgia" panose="02040502050405020303" pitchFamily="18" charset="0"/>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a:xfrm>
            <a:off x="4290932" y="5985327"/>
            <a:ext cx="7789451" cy="365125"/>
          </a:xfrm>
        </p:spPr>
        <p:txBody>
          <a:bodyPr/>
          <a:lstStyle/>
          <a:p>
            <a:r>
              <a:rPr lang="en-GB" dirty="0"/>
              <a:t>Source: NielsenIQ Scantrack and *Homescan SOTN Survey February 2022 (In 2021 which of the following events did you buy extra or special items for? Valentine’s Day)</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1975454713"/>
              </p:ext>
            </p:extLst>
          </p:nvPr>
        </p:nvGraphicFramePr>
        <p:xfrm>
          <a:off x="8113689" y="2479183"/>
          <a:ext cx="3791397" cy="3393584"/>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8C9FE291-6E5B-1BF2-8807-01B5235F29F4}"/>
              </a:ext>
            </a:extLst>
          </p:cNvPr>
          <p:cNvSpPr txBox="1"/>
          <p:nvPr/>
        </p:nvSpPr>
        <p:spPr>
          <a:xfrm>
            <a:off x="9375819" y="2389031"/>
            <a:ext cx="914400" cy="914400"/>
          </a:xfrm>
          <a:prstGeom prst="rect">
            <a:avLst/>
          </a:prstGeom>
          <a:noFill/>
        </p:spPr>
        <p:txBody>
          <a:bodyPr wrap="none" lIns="0" rIns="0" rtlCol="0">
            <a:noAutofit/>
          </a:bodyPr>
          <a:lstStyle/>
          <a:p>
            <a:pPr algn="l">
              <a:spcAft>
                <a:spcPts val="600"/>
              </a:spcAft>
            </a:pPr>
            <a:r>
              <a:rPr lang="en-GB" sz="1400" dirty="0"/>
              <a:t>-0.2%</a:t>
            </a:r>
          </a:p>
        </p:txBody>
      </p:sp>
      <p:sp>
        <p:nvSpPr>
          <p:cNvPr id="17" name="TextBox 16">
            <a:extLst>
              <a:ext uri="{FF2B5EF4-FFF2-40B4-BE49-F238E27FC236}">
                <a16:creationId xmlns:a16="http://schemas.microsoft.com/office/drawing/2014/main" id="{6550C3B6-53DC-1DEF-ECFF-E3A4E771B5C4}"/>
              </a:ext>
            </a:extLst>
          </p:cNvPr>
          <p:cNvSpPr txBox="1"/>
          <p:nvPr/>
        </p:nvSpPr>
        <p:spPr>
          <a:xfrm>
            <a:off x="10230120" y="2382591"/>
            <a:ext cx="914400" cy="914400"/>
          </a:xfrm>
          <a:prstGeom prst="rect">
            <a:avLst/>
          </a:prstGeom>
          <a:noFill/>
        </p:spPr>
        <p:txBody>
          <a:bodyPr wrap="none" lIns="0" rIns="0" rtlCol="0">
            <a:noAutofit/>
          </a:bodyPr>
          <a:lstStyle/>
          <a:p>
            <a:pPr algn="l">
              <a:spcAft>
                <a:spcPts val="600"/>
              </a:spcAft>
            </a:pPr>
            <a:r>
              <a:rPr lang="en-GB" sz="1400" dirty="0"/>
              <a:t>-6.6%</a:t>
            </a:r>
          </a:p>
        </p:txBody>
      </p:sp>
      <p:sp>
        <p:nvSpPr>
          <p:cNvPr id="18" name="TextBox 17">
            <a:extLst>
              <a:ext uri="{FF2B5EF4-FFF2-40B4-BE49-F238E27FC236}">
                <a16:creationId xmlns:a16="http://schemas.microsoft.com/office/drawing/2014/main" id="{D2C375BC-3E1C-26BF-A487-264712862C82}"/>
              </a:ext>
            </a:extLst>
          </p:cNvPr>
          <p:cNvSpPr txBox="1"/>
          <p:nvPr/>
        </p:nvSpPr>
        <p:spPr>
          <a:xfrm>
            <a:off x="11026463" y="2382591"/>
            <a:ext cx="914400" cy="914400"/>
          </a:xfrm>
          <a:prstGeom prst="rect">
            <a:avLst/>
          </a:prstGeom>
          <a:noFill/>
        </p:spPr>
        <p:txBody>
          <a:bodyPr wrap="none" lIns="0" rIns="0" rtlCol="0">
            <a:noAutofit/>
          </a:bodyPr>
          <a:lstStyle/>
          <a:p>
            <a:pPr algn="l">
              <a:spcAft>
                <a:spcPts val="600"/>
              </a:spcAft>
            </a:pPr>
            <a:r>
              <a:rPr lang="en-GB" sz="1400" dirty="0"/>
              <a:t>+17.5%</a:t>
            </a:r>
          </a:p>
        </p:txBody>
      </p:sp>
      <p:sp>
        <p:nvSpPr>
          <p:cNvPr id="25" name="Google Shape;894;p73">
            <a:extLst>
              <a:ext uri="{FF2B5EF4-FFF2-40B4-BE49-F238E27FC236}">
                <a16:creationId xmlns:a16="http://schemas.microsoft.com/office/drawing/2014/main" id="{3E08013B-C9C6-147D-0A18-681AEA238AF5}"/>
              </a:ext>
            </a:extLst>
          </p:cNvPr>
          <p:cNvSpPr txBox="1"/>
          <p:nvPr/>
        </p:nvSpPr>
        <p:spPr>
          <a:xfrm>
            <a:off x="4107056" y="2564671"/>
            <a:ext cx="3564926" cy="1544800"/>
          </a:xfrm>
          <a:prstGeom prst="rect">
            <a:avLst/>
          </a:prstGeom>
          <a:noFill/>
          <a:ln>
            <a:noFill/>
          </a:ln>
        </p:spPr>
        <p:txBody>
          <a:bodyPr spcFirstLastPara="1" wrap="square" lIns="0" tIns="60933" rIns="0" bIns="60933" anchor="t" anchorCtr="0">
            <a:noAutofit/>
          </a:bodyPr>
          <a:lstStyle/>
          <a:p>
            <a:pPr marL="342900" indent="-342900">
              <a:buClr>
                <a:schemeClr val="bg2"/>
              </a:buClr>
              <a:buFont typeface="Wingdings" panose="05000000000000000000" pitchFamily="2" charset="2"/>
              <a:buChar char="§"/>
            </a:pPr>
            <a:r>
              <a:rPr lang="en-US" sz="1400" b="1" dirty="0">
                <a:solidFill>
                  <a:schemeClr val="tx1">
                    <a:lumMod val="50000"/>
                  </a:schemeClr>
                </a:solidFill>
                <a:ea typeface="Montserrat"/>
                <a:cs typeface="Arial" panose="020B0604020202020204" pitchFamily="34" charset="0"/>
                <a:sym typeface="Montserrat"/>
              </a:rPr>
              <a:t>17% </a:t>
            </a:r>
            <a:r>
              <a:rPr lang="en-US" sz="1400" b="0" dirty="0">
                <a:solidFill>
                  <a:schemeClr val="tx1">
                    <a:lumMod val="50000"/>
                  </a:schemeClr>
                </a:solidFill>
                <a:ea typeface="Montserrat"/>
                <a:cs typeface="Arial" panose="020B0604020202020204" pitchFamily="34" charset="0"/>
                <a:sym typeface="Montserrat"/>
              </a:rPr>
              <a:t>of shoppers claim to buy additional items to celebrate Valentine’s Day</a:t>
            </a:r>
          </a:p>
          <a:p>
            <a:pPr marL="342900" indent="-342900">
              <a:buClr>
                <a:schemeClr val="bg2"/>
              </a:buClr>
              <a:buFont typeface="Wingdings" panose="05000000000000000000" pitchFamily="2" charset="2"/>
              <a:buChar char="§"/>
            </a:pPr>
            <a:endParaRPr lang="en-US" sz="1400" dirty="0">
              <a:solidFill>
                <a:schemeClr val="tx1">
                  <a:lumMod val="50000"/>
                </a:schemeClr>
              </a:solidFill>
              <a:ea typeface="Montserrat"/>
              <a:cs typeface="Arial" panose="020B0604020202020204" pitchFamily="34" charset="0"/>
              <a:sym typeface="Montserrat"/>
            </a:endParaRPr>
          </a:p>
          <a:p>
            <a:pPr marL="285750" indent="-285750">
              <a:buClr>
                <a:schemeClr val="bg2"/>
              </a:buClr>
              <a:buFont typeface="Wingdings" panose="05000000000000000000" pitchFamily="2" charset="2"/>
              <a:buChar char="§"/>
            </a:pPr>
            <a:r>
              <a:rPr lang="en-US" sz="1400" b="0" dirty="0">
                <a:solidFill>
                  <a:schemeClr val="tx1">
                    <a:lumMod val="50000"/>
                  </a:schemeClr>
                </a:solidFill>
                <a:ea typeface="Montserrat"/>
                <a:cs typeface="Arial" panose="020B0604020202020204" pitchFamily="34" charset="0"/>
                <a:sym typeface="Montserrat"/>
              </a:rPr>
              <a:t>In 2023, shoppers spent </a:t>
            </a:r>
            <a:r>
              <a:rPr lang="en-US" sz="1400" b="1" dirty="0">
                <a:solidFill>
                  <a:schemeClr val="tx1">
                    <a:lumMod val="50000"/>
                  </a:schemeClr>
                </a:solidFill>
                <a:ea typeface="Montserrat"/>
                <a:cs typeface="Arial" panose="020B0604020202020204" pitchFamily="34" charset="0"/>
                <a:sym typeface="Montserrat"/>
              </a:rPr>
              <a:t>£278m </a:t>
            </a:r>
            <a:r>
              <a:rPr lang="en-US" sz="1400" b="0" dirty="0">
                <a:solidFill>
                  <a:schemeClr val="tx1">
                    <a:lumMod val="50000"/>
                  </a:schemeClr>
                </a:solidFill>
                <a:ea typeface="Montserrat"/>
                <a:cs typeface="Arial" panose="020B0604020202020204" pitchFamily="34" charset="0"/>
                <a:sym typeface="Montserrat"/>
              </a:rPr>
              <a:t>on celebratory food and gifts in the Grocery Multiples</a:t>
            </a:r>
            <a:endParaRPr lang="en-US" sz="1400" b="0" dirty="0">
              <a:solidFill>
                <a:schemeClr val="tx1">
                  <a:lumMod val="50000"/>
                </a:schemeClr>
              </a:solidFill>
              <a:cs typeface="Arial" panose="020B0604020202020204" pitchFamily="34" charset="0"/>
            </a:endParaRPr>
          </a:p>
        </p:txBody>
      </p:sp>
      <p:sp>
        <p:nvSpPr>
          <p:cNvPr id="28" name="TextBox 27">
            <a:extLst>
              <a:ext uri="{FF2B5EF4-FFF2-40B4-BE49-F238E27FC236}">
                <a16:creationId xmlns:a16="http://schemas.microsoft.com/office/drawing/2014/main" id="{F7D5C13E-7BE7-78D8-6570-700601C67AC3}"/>
              </a:ext>
            </a:extLst>
          </p:cNvPr>
          <p:cNvSpPr txBox="1"/>
          <p:nvPr/>
        </p:nvSpPr>
        <p:spPr>
          <a:xfrm>
            <a:off x="8289655" y="1778046"/>
            <a:ext cx="2573675"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Valentine’s related Spend</a:t>
            </a:r>
          </a:p>
          <a:p>
            <a:pPr>
              <a:buSzPts val="1100"/>
            </a:pPr>
            <a:r>
              <a:rPr lang="en-US" sz="1200" i="1" dirty="0">
                <a:solidFill>
                  <a:schemeClr val="tx1"/>
                </a:solidFill>
                <a:latin typeface="Arial" panose="020B0604020202020204" pitchFamily="34" charset="0"/>
                <a:cs typeface="Arial" panose="020B0604020202020204" pitchFamily="34" charset="0"/>
              </a:rPr>
              <a:t>Grocery Multiples</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11972320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013404" y="1899404"/>
            <a:ext cx="3912433" cy="2427287"/>
          </a:xfrm>
        </p:spPr>
        <p:txBody>
          <a:bodyPr/>
          <a:lstStyle/>
          <a:p>
            <a:r>
              <a:rPr lang="en-US" sz="1600" dirty="0"/>
              <a:t>Valentine’s related spend </a:t>
            </a:r>
            <a:r>
              <a:rPr lang="en-US" sz="6600" dirty="0"/>
              <a:t>£278m</a:t>
            </a:r>
            <a:br>
              <a:rPr lang="en-US" sz="6000" dirty="0"/>
            </a:br>
            <a:r>
              <a:rPr lang="en-US" dirty="0"/>
              <a:t>+17.5%</a:t>
            </a:r>
          </a:p>
          <a:p>
            <a:endParaRPr lang="en-US" dirty="0"/>
          </a:p>
          <a:p>
            <a:r>
              <a:rPr lang="en-US" sz="2000" b="0" dirty="0">
                <a:latin typeface="Georgia" panose="02040502050405020303" pitchFamily="18" charset="0"/>
              </a:rPr>
              <a:t>which is </a:t>
            </a:r>
            <a:r>
              <a:rPr lang="en-US" sz="2000" dirty="0">
                <a:latin typeface="Georgia" panose="02040502050405020303" pitchFamily="18" charset="0"/>
              </a:rPr>
              <a:t>10.5%</a:t>
            </a:r>
            <a:r>
              <a:rPr lang="en-US" sz="2000" b="0" dirty="0">
                <a:latin typeface="Georgia" panose="02040502050405020303" pitchFamily="18" charset="0"/>
              </a:rPr>
              <a:t> of </a:t>
            </a:r>
            <a:r>
              <a:rPr lang="en-US" sz="2000" dirty="0">
                <a:latin typeface="Georgia" panose="02040502050405020303" pitchFamily="18" charset="0"/>
              </a:rPr>
              <a:t>Total Store sales </a:t>
            </a:r>
            <a:r>
              <a:rPr lang="en-US" sz="2000" b="0" dirty="0">
                <a:latin typeface="Georgia" panose="02040502050405020303" pitchFamily="18" charset="0"/>
              </a:rPr>
              <a:t>and above last year’s share 9.7%</a:t>
            </a:r>
          </a:p>
          <a:p>
            <a:endParaRPr lang="en-US" dirty="0"/>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a:xfrm>
            <a:off x="346513" y="6107676"/>
            <a:ext cx="11582399" cy="365125"/>
          </a:xfrm>
        </p:spPr>
        <p:txBody>
          <a:bodyPr/>
          <a:lstStyle/>
          <a:p>
            <a:r>
              <a:rPr lang="en-GB" altLang="ko-KR" dirty="0">
                <a:ea typeface="굴림" pitchFamily="50" charset="-127"/>
              </a:rPr>
              <a:t>NielsenIQ Scantrack Grocery Multiples w/e 18</a:t>
            </a:r>
            <a:r>
              <a:rPr lang="en-GB" altLang="ko-KR" baseline="30000" dirty="0">
                <a:ea typeface="굴림" pitchFamily="50" charset="-127"/>
              </a:rPr>
              <a:t>th</a:t>
            </a:r>
            <a:r>
              <a:rPr lang="en-GB" altLang="ko-KR" dirty="0">
                <a:ea typeface="굴림" pitchFamily="50" charset="-127"/>
              </a:rPr>
              <a:t> February 2023 vs w/e 19th February 2022</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127572" y="333518"/>
            <a:ext cx="6878536" cy="397352"/>
          </a:xfrm>
        </p:spPr>
        <p:txBody>
          <a:bodyPr/>
          <a:lstStyle/>
          <a:p>
            <a:r>
              <a:rPr lang="en-US" dirty="0"/>
              <a:t>Shoppers spent more in Valentine’s Week on, Greeting Cards, Beauty Treatments and Breakfast Treats</a:t>
            </a:r>
          </a:p>
        </p:txBody>
      </p:sp>
      <p:graphicFrame>
        <p:nvGraphicFramePr>
          <p:cNvPr id="17" name="Chart 16">
            <a:extLst>
              <a:ext uri="{FF2B5EF4-FFF2-40B4-BE49-F238E27FC236}">
                <a16:creationId xmlns:a16="http://schemas.microsoft.com/office/drawing/2014/main" id="{0CE3D0A7-F164-7FF3-D8B1-CF66C625E49E}"/>
              </a:ext>
            </a:extLst>
          </p:cNvPr>
          <p:cNvGraphicFramePr/>
          <p:nvPr>
            <p:extLst>
              <p:ext uri="{D42A27DB-BD31-4B8C-83A1-F6EECF244321}">
                <p14:modId xmlns:p14="http://schemas.microsoft.com/office/powerpoint/2010/main" val="132544649"/>
              </p:ext>
            </p:extLst>
          </p:nvPr>
        </p:nvGraphicFramePr>
        <p:xfrm>
          <a:off x="454338" y="1756415"/>
          <a:ext cx="5669566" cy="3800819"/>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4EBD28B5-2BE6-AE91-0153-758D73299333}"/>
              </a:ext>
            </a:extLst>
          </p:cNvPr>
          <p:cNvSpPr txBox="1"/>
          <p:nvPr/>
        </p:nvSpPr>
        <p:spPr>
          <a:xfrm>
            <a:off x="560231" y="1506829"/>
            <a:ext cx="2144333" cy="386366"/>
          </a:xfrm>
          <a:prstGeom prst="rect">
            <a:avLst/>
          </a:prstGeom>
          <a:noFill/>
        </p:spPr>
        <p:txBody>
          <a:bodyPr wrap="square" lIns="0" rIns="0" rtlCol="0">
            <a:noAutofit/>
          </a:bodyPr>
          <a:lstStyle/>
          <a:p>
            <a:pPr algn="l">
              <a:spcAft>
                <a:spcPts val="600"/>
              </a:spcAft>
            </a:pPr>
            <a:r>
              <a:rPr lang="en-GB" sz="1400" dirty="0"/>
              <a:t>Valentine’s related spend</a:t>
            </a:r>
          </a:p>
        </p:txBody>
      </p:sp>
      <p:sp>
        <p:nvSpPr>
          <p:cNvPr id="21" name="TextBox 20">
            <a:extLst>
              <a:ext uri="{FF2B5EF4-FFF2-40B4-BE49-F238E27FC236}">
                <a16:creationId xmlns:a16="http://schemas.microsoft.com/office/drawing/2014/main" id="{B8AA1B48-B135-2A0D-96D5-BE1735E22565}"/>
              </a:ext>
            </a:extLst>
          </p:cNvPr>
          <p:cNvSpPr txBox="1"/>
          <p:nvPr/>
        </p:nvSpPr>
        <p:spPr>
          <a:xfrm>
            <a:off x="4340180" y="2279560"/>
            <a:ext cx="914400" cy="914400"/>
          </a:xfrm>
          <a:prstGeom prst="rect">
            <a:avLst/>
          </a:prstGeom>
          <a:noFill/>
        </p:spPr>
        <p:txBody>
          <a:bodyPr wrap="none" lIns="0" rIns="0" rtlCol="0">
            <a:noAutofit/>
          </a:bodyPr>
          <a:lstStyle/>
          <a:p>
            <a:pPr algn="l">
              <a:spcAft>
                <a:spcPts val="600"/>
              </a:spcAft>
            </a:pPr>
            <a:r>
              <a:rPr lang="en-GB" sz="1200" dirty="0"/>
              <a:t>+10%</a:t>
            </a:r>
          </a:p>
        </p:txBody>
      </p:sp>
      <p:sp>
        <p:nvSpPr>
          <p:cNvPr id="22" name="TextBox 21">
            <a:extLst>
              <a:ext uri="{FF2B5EF4-FFF2-40B4-BE49-F238E27FC236}">
                <a16:creationId xmlns:a16="http://schemas.microsoft.com/office/drawing/2014/main" id="{15BA4D51-461B-7E3A-E6C6-608565BF4A82}"/>
              </a:ext>
            </a:extLst>
          </p:cNvPr>
          <p:cNvSpPr txBox="1"/>
          <p:nvPr/>
        </p:nvSpPr>
        <p:spPr>
          <a:xfrm>
            <a:off x="4576293" y="3127419"/>
            <a:ext cx="914400" cy="914400"/>
          </a:xfrm>
          <a:prstGeom prst="rect">
            <a:avLst/>
          </a:prstGeom>
          <a:noFill/>
        </p:spPr>
        <p:txBody>
          <a:bodyPr wrap="none" lIns="0" rIns="0" rtlCol="0">
            <a:noAutofit/>
          </a:bodyPr>
          <a:lstStyle/>
          <a:p>
            <a:pPr algn="l">
              <a:spcAft>
                <a:spcPts val="600"/>
              </a:spcAft>
            </a:pPr>
            <a:r>
              <a:rPr lang="en-GB" sz="1200" dirty="0"/>
              <a:t>+18%</a:t>
            </a:r>
          </a:p>
        </p:txBody>
      </p:sp>
      <p:sp>
        <p:nvSpPr>
          <p:cNvPr id="23" name="TextBox 22">
            <a:extLst>
              <a:ext uri="{FF2B5EF4-FFF2-40B4-BE49-F238E27FC236}">
                <a16:creationId xmlns:a16="http://schemas.microsoft.com/office/drawing/2014/main" id="{044FD24E-4869-6C24-16FB-B3C6ED41984D}"/>
              </a:ext>
            </a:extLst>
          </p:cNvPr>
          <p:cNvSpPr txBox="1"/>
          <p:nvPr/>
        </p:nvSpPr>
        <p:spPr>
          <a:xfrm>
            <a:off x="4065432" y="4065431"/>
            <a:ext cx="914400" cy="914400"/>
          </a:xfrm>
          <a:prstGeom prst="rect">
            <a:avLst/>
          </a:prstGeom>
          <a:noFill/>
        </p:spPr>
        <p:txBody>
          <a:bodyPr wrap="none" lIns="0" rIns="0" rtlCol="0">
            <a:noAutofit/>
          </a:bodyPr>
          <a:lstStyle/>
          <a:p>
            <a:pPr algn="l">
              <a:spcAft>
                <a:spcPts val="600"/>
              </a:spcAft>
            </a:pPr>
            <a:r>
              <a:rPr lang="en-GB" sz="1200" dirty="0"/>
              <a:t>+14%</a:t>
            </a:r>
          </a:p>
        </p:txBody>
      </p:sp>
      <p:sp>
        <p:nvSpPr>
          <p:cNvPr id="2" name="TextBox 1">
            <a:extLst>
              <a:ext uri="{FF2B5EF4-FFF2-40B4-BE49-F238E27FC236}">
                <a16:creationId xmlns:a16="http://schemas.microsoft.com/office/drawing/2014/main" id="{8CB5AF30-9B77-6416-209F-3F1BA75D8B8B}"/>
              </a:ext>
            </a:extLst>
          </p:cNvPr>
          <p:cNvSpPr txBox="1"/>
          <p:nvPr/>
        </p:nvSpPr>
        <p:spPr>
          <a:xfrm>
            <a:off x="3496615" y="4372377"/>
            <a:ext cx="914400" cy="914400"/>
          </a:xfrm>
          <a:prstGeom prst="rect">
            <a:avLst/>
          </a:prstGeom>
          <a:noFill/>
        </p:spPr>
        <p:txBody>
          <a:bodyPr wrap="none" lIns="0" rIns="0" rtlCol="0">
            <a:noAutofit/>
          </a:bodyPr>
          <a:lstStyle/>
          <a:p>
            <a:pPr algn="l">
              <a:spcAft>
                <a:spcPts val="600"/>
              </a:spcAft>
            </a:pPr>
            <a:r>
              <a:rPr lang="en-GB" sz="1200" dirty="0"/>
              <a:t>+23%</a:t>
            </a:r>
          </a:p>
        </p:txBody>
      </p:sp>
    </p:spTree>
    <p:extLst>
      <p:ext uri="{BB962C8B-B14F-4D97-AF65-F5344CB8AC3E}">
        <p14:creationId xmlns:p14="http://schemas.microsoft.com/office/powerpoint/2010/main" val="315267293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4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333634" y="2092817"/>
            <a:ext cx="3503952" cy="2491505"/>
          </a:xfrm>
        </p:spPr>
        <p:txBody>
          <a:bodyPr/>
          <a:lstStyle/>
          <a:p>
            <a:r>
              <a:rPr lang="en-US" sz="2800" dirty="0"/>
              <a:t>This year growths were highest for </a:t>
            </a:r>
            <a:r>
              <a:rPr lang="en-US" sz="2800" b="0" i="1" dirty="0">
                <a:latin typeface="Georgia" panose="02040502050405020303" pitchFamily="18" charset="0"/>
              </a:rPr>
              <a:t>Cards, Plants in Soil Fragrances, Cosmetics, Cup Cakes </a:t>
            </a:r>
            <a:r>
              <a:rPr lang="en-US" sz="2800" dirty="0">
                <a:latin typeface="+mn-lt"/>
              </a:rPr>
              <a:t>and</a:t>
            </a:r>
            <a:r>
              <a:rPr lang="en-US" sz="2800" b="0" i="1" dirty="0">
                <a:latin typeface="Georgia" panose="02040502050405020303" pitchFamily="18" charset="0"/>
              </a:rPr>
              <a:t> Steaks</a:t>
            </a: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NielsenIQ Scantrack Grocery Multiples</a:t>
            </a:r>
          </a:p>
        </p:txBody>
      </p:sp>
      <p:graphicFrame>
        <p:nvGraphicFramePr>
          <p:cNvPr id="6" name="Chart 5">
            <a:extLst>
              <a:ext uri="{FF2B5EF4-FFF2-40B4-BE49-F238E27FC236}">
                <a16:creationId xmlns:a16="http://schemas.microsoft.com/office/drawing/2014/main" id="{170BDCEC-DA18-26DF-8B6E-7E52194B0186}"/>
              </a:ext>
            </a:extLst>
          </p:cNvPr>
          <p:cNvGraphicFramePr/>
          <p:nvPr>
            <p:extLst>
              <p:ext uri="{D42A27DB-BD31-4B8C-83A1-F6EECF244321}">
                <p14:modId xmlns:p14="http://schemas.microsoft.com/office/powerpoint/2010/main" val="3289965469"/>
              </p:ext>
            </p:extLst>
          </p:nvPr>
        </p:nvGraphicFramePr>
        <p:xfrm>
          <a:off x="3847921" y="629514"/>
          <a:ext cx="8128000" cy="541866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30362D5E-66ED-78B2-E3DB-D8C193E4C1D2}"/>
              </a:ext>
            </a:extLst>
          </p:cNvPr>
          <p:cNvSpPr txBox="1"/>
          <p:nvPr/>
        </p:nvSpPr>
        <p:spPr>
          <a:xfrm>
            <a:off x="4290767" y="773803"/>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Top performing Valentine’s Day related categories</a:t>
            </a:r>
          </a:p>
          <a:p>
            <a:pPr>
              <a:buSzPts val="1100"/>
            </a:pPr>
            <a:r>
              <a:rPr lang="en-US" sz="1200" i="1" dirty="0">
                <a:solidFill>
                  <a:schemeClr val="tx1"/>
                </a:solidFill>
                <a:latin typeface="Arial" panose="020B0604020202020204" pitchFamily="34" charset="0"/>
                <a:cs typeface="Arial" panose="020B0604020202020204" pitchFamily="34" charset="0"/>
              </a:rPr>
              <a:t>Ranked on value growth w/e 18</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Februar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28730375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49</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grpSp>
        <p:nvGrpSpPr>
          <p:cNvPr id="5" name="Group 4">
            <a:extLst>
              <a:ext uri="{FF2B5EF4-FFF2-40B4-BE49-F238E27FC236}">
                <a16:creationId xmlns:a16="http://schemas.microsoft.com/office/drawing/2014/main" id="{A77149AC-A468-D20C-E0FD-3032580AF050}"/>
              </a:ext>
            </a:extLst>
          </p:cNvPr>
          <p:cNvGrpSpPr/>
          <p:nvPr/>
        </p:nvGrpSpPr>
        <p:grpSpPr>
          <a:xfrm>
            <a:off x="625767" y="1429408"/>
            <a:ext cx="4608378" cy="3176730"/>
            <a:chOff x="289443" y="1429408"/>
            <a:chExt cx="4608378" cy="3176730"/>
          </a:xfrm>
        </p:grpSpPr>
        <p:sp>
          <p:nvSpPr>
            <p:cNvPr id="6" name="TextBox 5">
              <a:extLst>
                <a:ext uri="{FF2B5EF4-FFF2-40B4-BE49-F238E27FC236}">
                  <a16:creationId xmlns:a16="http://schemas.microsoft.com/office/drawing/2014/main" id="{12A3D85F-3197-4BF0-4904-FEA95F431754}"/>
                </a:ext>
              </a:extLst>
            </p:cNvPr>
            <p:cNvSpPr txBox="1"/>
            <p:nvPr userDrawn="1"/>
          </p:nvSpPr>
          <p:spPr>
            <a:xfrm>
              <a:off x="289443" y="2577611"/>
              <a:ext cx="4608378" cy="2028527"/>
            </a:xfrm>
            <a:prstGeom prst="rect">
              <a:avLst/>
            </a:prstGeom>
            <a:noFill/>
          </p:spPr>
          <p:txBody>
            <a:bodyPr wrap="square" lIns="0" rIns="0" rtlCol="0">
              <a:noAutofit/>
            </a:bodyPr>
            <a:lstStyle/>
            <a:p>
              <a:pPr algn="l">
                <a:spcAft>
                  <a:spcPts val="600"/>
                </a:spcAft>
              </a:pPr>
              <a:r>
                <a:rPr lang="en-US" sz="2000" i="1" dirty="0">
                  <a:solidFill>
                    <a:schemeClr val="tx1"/>
                  </a:solidFill>
                  <a:latin typeface="Georgia" panose="02040502050405020303" pitchFamily="18" charset="0"/>
                </a:rPr>
                <a:t>Beauty Skincare</a:t>
              </a:r>
            </a:p>
            <a:p>
              <a:pPr>
                <a:spcAft>
                  <a:spcPts val="600"/>
                </a:spcAft>
              </a:pPr>
              <a:r>
                <a:rPr lang="en-US" sz="2000" i="1" dirty="0">
                  <a:latin typeface="Georgia" panose="02040502050405020303" pitchFamily="18" charset="0"/>
                </a:rPr>
                <a:t>Chocolate boxes and gifting</a:t>
              </a:r>
            </a:p>
            <a:p>
              <a:pPr algn="l">
                <a:spcAft>
                  <a:spcPts val="600"/>
                </a:spcAft>
              </a:pPr>
              <a:r>
                <a:rPr lang="en-US" sz="2000" i="1" dirty="0">
                  <a:solidFill>
                    <a:schemeClr val="tx1"/>
                  </a:solidFill>
                  <a:latin typeface="Georgia" panose="02040502050405020303" pitchFamily="18" charset="0"/>
                </a:rPr>
                <a:t>Cosmetics</a:t>
              </a:r>
            </a:p>
            <a:p>
              <a:pPr algn="l">
                <a:spcAft>
                  <a:spcPts val="600"/>
                </a:spcAft>
              </a:pPr>
              <a:r>
                <a:rPr lang="en-US" sz="2000" i="1" dirty="0">
                  <a:solidFill>
                    <a:schemeClr val="tx1"/>
                  </a:solidFill>
                  <a:latin typeface="Georgia" panose="02040502050405020303" pitchFamily="18" charset="0"/>
                </a:rPr>
                <a:t>Cut mixed flowers</a:t>
              </a:r>
            </a:p>
            <a:p>
              <a:pPr algn="l">
                <a:spcAft>
                  <a:spcPts val="600"/>
                </a:spcAft>
              </a:pPr>
              <a:r>
                <a:rPr lang="en-US" sz="2000" i="1" dirty="0">
                  <a:latin typeface="Georgia" panose="02040502050405020303" pitchFamily="18" charset="0"/>
                </a:rPr>
                <a:t>Cut Roses</a:t>
              </a:r>
            </a:p>
            <a:p>
              <a:pPr algn="l">
                <a:spcAft>
                  <a:spcPts val="600"/>
                </a:spcAft>
              </a:pPr>
              <a:r>
                <a:rPr lang="en-US" sz="2000" i="1" dirty="0">
                  <a:latin typeface="Georgia" panose="02040502050405020303" pitchFamily="18" charset="0"/>
                </a:rPr>
                <a:t>Fragrances</a:t>
              </a:r>
              <a:endParaRPr lang="en-US" sz="2000" i="1" dirty="0">
                <a:solidFill>
                  <a:schemeClr val="tx1"/>
                </a:solidFill>
                <a:latin typeface="Georgia" panose="02040502050405020303" pitchFamily="18" charset="0"/>
              </a:endParaRPr>
            </a:p>
            <a:p>
              <a:pPr algn="l">
                <a:spcAft>
                  <a:spcPts val="600"/>
                </a:spcAft>
              </a:pPr>
              <a:r>
                <a:rPr lang="en-US" sz="2000" i="1" dirty="0">
                  <a:latin typeface="Georgia" panose="02040502050405020303" pitchFamily="18" charset="0"/>
                </a:rPr>
                <a:t>Greeting cards</a:t>
              </a:r>
            </a:p>
            <a:p>
              <a:pPr algn="l">
                <a:spcAft>
                  <a:spcPts val="600"/>
                </a:spcAft>
              </a:pPr>
              <a:r>
                <a:rPr lang="en-US" sz="2000" i="1" dirty="0">
                  <a:latin typeface="Georgia" panose="02040502050405020303" pitchFamily="18" charset="0"/>
                </a:rPr>
                <a:t>Plant in Soil</a:t>
              </a:r>
            </a:p>
            <a:p>
              <a:pPr algn="l">
                <a:spcAft>
                  <a:spcPts val="600"/>
                </a:spcAft>
              </a:pPr>
              <a:endParaRPr lang="en-US" sz="2800" i="1" dirty="0">
                <a:solidFill>
                  <a:schemeClr val="tx1"/>
                </a:solidFill>
                <a:latin typeface="Georgia" panose="02040502050405020303" pitchFamily="18" charset="0"/>
              </a:endParaRPr>
            </a:p>
          </p:txBody>
        </p:sp>
        <p:sp>
          <p:nvSpPr>
            <p:cNvPr id="7" name="Title 1">
              <a:extLst>
                <a:ext uri="{FF2B5EF4-FFF2-40B4-BE49-F238E27FC236}">
                  <a16:creationId xmlns:a16="http://schemas.microsoft.com/office/drawing/2014/main" id="{0E8C7FC0-98C8-5422-9F62-0DFB63C27084}"/>
                </a:ext>
              </a:extLst>
            </p:cNvPr>
            <p:cNvSpPr txBox="1">
              <a:spLocks/>
            </p:cNvSpPr>
            <p:nvPr userDrawn="1"/>
          </p:nvSpPr>
          <p:spPr>
            <a:xfrm>
              <a:off x="289443" y="1429408"/>
              <a:ext cx="4608378"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tx2"/>
                  </a:solidFill>
                  <a:latin typeface="+mn-lt"/>
                </a:rPr>
                <a:t>Gifting</a:t>
              </a:r>
              <a:endParaRPr lang="en-US" sz="2800" b="1" dirty="0">
                <a:solidFill>
                  <a:schemeClr val="tx2"/>
                </a:solidFill>
                <a:latin typeface="+mn-lt"/>
              </a:endParaRPr>
            </a:p>
          </p:txBody>
        </p:sp>
      </p:grpSp>
      <p:grpSp>
        <p:nvGrpSpPr>
          <p:cNvPr id="8" name="Group 7">
            <a:extLst>
              <a:ext uri="{FF2B5EF4-FFF2-40B4-BE49-F238E27FC236}">
                <a16:creationId xmlns:a16="http://schemas.microsoft.com/office/drawing/2014/main" id="{7C50579C-A25F-C115-7D7A-AA672A33CF6B}"/>
              </a:ext>
            </a:extLst>
          </p:cNvPr>
          <p:cNvGrpSpPr/>
          <p:nvPr/>
        </p:nvGrpSpPr>
        <p:grpSpPr>
          <a:xfrm>
            <a:off x="6758148" y="1429408"/>
            <a:ext cx="4435366" cy="3195140"/>
            <a:chOff x="6600495" y="1429408"/>
            <a:chExt cx="4435366" cy="3195140"/>
          </a:xfrm>
        </p:grpSpPr>
        <p:sp>
          <p:nvSpPr>
            <p:cNvPr id="9" name="Title 1">
              <a:extLst>
                <a:ext uri="{FF2B5EF4-FFF2-40B4-BE49-F238E27FC236}">
                  <a16:creationId xmlns:a16="http://schemas.microsoft.com/office/drawing/2014/main" id="{D0F294FF-31FC-7FA2-9502-D94D9E47C08E}"/>
                </a:ext>
              </a:extLst>
            </p:cNvPr>
            <p:cNvSpPr txBox="1">
              <a:spLocks/>
            </p:cNvSpPr>
            <p:nvPr userDrawn="1"/>
          </p:nvSpPr>
          <p:spPr>
            <a:xfrm>
              <a:off x="6600495" y="1429408"/>
              <a:ext cx="4435366" cy="1035371"/>
            </a:xfrm>
            <a:prstGeom prst="rect">
              <a:avLst/>
            </a:prstGeom>
          </p:spPr>
          <p:txBody>
            <a:bodyPr vert="horz" lIns="0" tIns="45720" rIns="0" bIns="45720" rtlCol="0" anchor="ctr">
              <a:noAutofit/>
            </a:bodyPr>
            <a:lstStyle>
              <a:lvl1pPr algn="l" defTabSz="914400" rtl="0" eaLnBrk="1" latinLnBrk="0" hangingPunct="1">
                <a:lnSpc>
                  <a:spcPct val="100000"/>
                </a:lnSpc>
                <a:spcBef>
                  <a:spcPct val="0"/>
                </a:spcBef>
                <a:buNone/>
                <a:defRPr sz="2000" b="1" kern="1200">
                  <a:solidFill>
                    <a:schemeClr val="bg1"/>
                  </a:solidFill>
                  <a:latin typeface="+mj-lt"/>
                  <a:ea typeface="+mj-ea"/>
                  <a:cs typeface="+mj-cs"/>
                </a:defRPr>
              </a:lvl1pPr>
            </a:lstStyle>
            <a:p>
              <a:r>
                <a:rPr lang="en-US" sz="2800" b="0" dirty="0">
                  <a:solidFill>
                    <a:schemeClr val="bg2"/>
                  </a:solidFill>
                  <a:latin typeface="+mn-lt"/>
                </a:rPr>
                <a:t>Celebration Food</a:t>
              </a:r>
              <a:endParaRPr lang="en-US" sz="2800" b="1" dirty="0">
                <a:solidFill>
                  <a:schemeClr val="bg2"/>
                </a:solidFill>
                <a:latin typeface="+mn-lt"/>
              </a:endParaRPr>
            </a:p>
          </p:txBody>
        </p:sp>
        <p:sp>
          <p:nvSpPr>
            <p:cNvPr id="10" name="TextBox 9">
              <a:extLst>
                <a:ext uri="{FF2B5EF4-FFF2-40B4-BE49-F238E27FC236}">
                  <a16:creationId xmlns:a16="http://schemas.microsoft.com/office/drawing/2014/main" id="{9F047315-D7BA-ED20-AEB4-252A9C315F10}"/>
                </a:ext>
              </a:extLst>
            </p:cNvPr>
            <p:cNvSpPr txBox="1"/>
            <p:nvPr userDrawn="1"/>
          </p:nvSpPr>
          <p:spPr>
            <a:xfrm>
              <a:off x="6600495" y="2596021"/>
              <a:ext cx="4025466" cy="2028527"/>
            </a:xfrm>
            <a:prstGeom prst="rect">
              <a:avLst/>
            </a:prstGeom>
            <a:noFill/>
          </p:spPr>
          <p:txBody>
            <a:bodyPr wrap="square" lIns="0" rIns="0" rtlCol="0">
              <a:noAutofit/>
            </a:bodyPr>
            <a:lstStyle/>
            <a:p>
              <a:pPr algn="l">
                <a:spcAft>
                  <a:spcPts val="600"/>
                </a:spcAft>
              </a:pPr>
              <a:r>
                <a:rPr lang="en-US" sz="2000" i="1" dirty="0">
                  <a:solidFill>
                    <a:schemeClr val="tx1"/>
                  </a:solidFill>
                </a:rPr>
                <a:t>Ambient Cup Cakes</a:t>
              </a:r>
            </a:p>
            <a:p>
              <a:pPr>
                <a:spcAft>
                  <a:spcPts val="600"/>
                </a:spcAft>
              </a:pPr>
              <a:r>
                <a:rPr lang="en-US" sz="2000" i="1" dirty="0">
                  <a:solidFill>
                    <a:schemeClr val="tx1"/>
                  </a:solidFill>
                </a:rPr>
                <a:t>Cake chilled</a:t>
              </a:r>
            </a:p>
            <a:p>
              <a:pPr>
                <a:spcAft>
                  <a:spcPts val="600"/>
                </a:spcAft>
              </a:pPr>
              <a:r>
                <a:rPr lang="en-US" sz="2000" i="1" dirty="0">
                  <a:solidFill>
                    <a:schemeClr val="tx1"/>
                  </a:solidFill>
                </a:rPr>
                <a:t>Fillet/medallion/stea</a:t>
              </a:r>
              <a:r>
                <a:rPr lang="en-US" sz="2000" i="1" dirty="0"/>
                <a:t>k</a:t>
              </a:r>
            </a:p>
            <a:p>
              <a:pPr>
                <a:spcAft>
                  <a:spcPts val="600"/>
                </a:spcAft>
              </a:pPr>
              <a:r>
                <a:rPr lang="en-US" sz="2000" i="1" dirty="0">
                  <a:solidFill>
                    <a:schemeClr val="tx1"/>
                  </a:solidFill>
                </a:rPr>
                <a:t>Fres</a:t>
              </a:r>
              <a:r>
                <a:rPr lang="en-US" sz="2000" i="1" dirty="0"/>
                <a:t>h desserts</a:t>
              </a:r>
            </a:p>
            <a:p>
              <a:pPr algn="l">
                <a:spcAft>
                  <a:spcPts val="600"/>
                </a:spcAft>
              </a:pPr>
              <a:r>
                <a:rPr lang="en-US" sz="2000" i="1" dirty="0">
                  <a:solidFill>
                    <a:schemeClr val="tx1"/>
                  </a:solidFill>
                </a:rPr>
                <a:t>Fresh ready meals</a:t>
              </a:r>
            </a:p>
            <a:p>
              <a:pPr>
                <a:spcAft>
                  <a:spcPts val="600"/>
                </a:spcAft>
              </a:pPr>
              <a:r>
                <a:rPr lang="en-US" sz="2000" i="1" dirty="0"/>
                <a:t>Fresh veg accompaniments</a:t>
              </a:r>
            </a:p>
            <a:p>
              <a:pPr algn="l">
                <a:spcAft>
                  <a:spcPts val="600"/>
                </a:spcAft>
              </a:pPr>
              <a:r>
                <a:rPr lang="en-US" sz="2000" i="1" dirty="0"/>
                <a:t>Morning goods &amp; speciality breads</a:t>
              </a:r>
            </a:p>
            <a:p>
              <a:pPr algn="l">
                <a:spcAft>
                  <a:spcPts val="600"/>
                </a:spcAft>
              </a:pPr>
              <a:r>
                <a:rPr lang="en-US" sz="2000" i="1" dirty="0"/>
                <a:t>Sparkling Wine</a:t>
              </a:r>
              <a:endParaRPr lang="en-US" sz="2000" i="1" dirty="0">
                <a:solidFill>
                  <a:schemeClr val="tx1"/>
                </a:solidFill>
              </a:endParaRPr>
            </a:p>
          </p:txBody>
        </p:sp>
      </p:grpSp>
    </p:spTree>
    <p:extLst>
      <p:ext uri="{BB962C8B-B14F-4D97-AF65-F5344CB8AC3E}">
        <p14:creationId xmlns:p14="http://schemas.microsoft.com/office/powerpoint/2010/main" val="3074474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5</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6600" dirty="0"/>
              <a:t>11.1%</a:t>
            </a:r>
            <a:br>
              <a:rPr lang="en-US" sz="6000" dirty="0"/>
            </a:br>
            <a:r>
              <a:rPr lang="en-US" dirty="0"/>
              <a:t>Total Till</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PH" dirty="0">
                <a:latin typeface="Montserrat" panose="00000500000000000000" pitchFamily="2" charset="0"/>
              </a:rPr>
              <a:t>Source:  NIQ Scantrack Total Store Read, *Homescan FMCG 4w/e 25</a:t>
            </a:r>
            <a:r>
              <a:rPr lang="en-PH" baseline="30000" dirty="0">
                <a:latin typeface="Montserrat" panose="00000500000000000000" pitchFamily="2" charset="0"/>
              </a:rPr>
              <a:t>th</a:t>
            </a:r>
            <a:r>
              <a:rPr lang="en-PH" dirty="0">
                <a:latin typeface="Montserrat" panose="00000500000000000000" pitchFamily="2" charset="0"/>
              </a:rPr>
              <a:t> February 2023, **Homescan Total FMCG </a:t>
            </a:r>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p:txBody>
          <a:bodyPr/>
          <a:lstStyle/>
          <a:p>
            <a:r>
              <a:rPr lang="en-US" dirty="0"/>
              <a:t>Discounters continue to gain market share</a:t>
            </a:r>
          </a:p>
        </p:txBody>
      </p:sp>
      <p:graphicFrame>
        <p:nvGraphicFramePr>
          <p:cNvPr id="12" name="Table 24">
            <a:extLst>
              <a:ext uri="{FF2B5EF4-FFF2-40B4-BE49-F238E27FC236}">
                <a16:creationId xmlns:a16="http://schemas.microsoft.com/office/drawing/2014/main" id="{09B3E9D7-1C08-C58F-29FF-13B3CE159E5A}"/>
              </a:ext>
            </a:extLst>
          </p:cNvPr>
          <p:cNvGraphicFramePr>
            <a:graphicFrameLocks noGrp="1"/>
          </p:cNvGraphicFramePr>
          <p:nvPr>
            <p:extLst>
              <p:ext uri="{D42A27DB-BD31-4B8C-83A1-F6EECF244321}">
                <p14:modId xmlns:p14="http://schemas.microsoft.com/office/powerpoint/2010/main" val="709090984"/>
              </p:ext>
            </p:extLst>
          </p:nvPr>
        </p:nvGraphicFramePr>
        <p:xfrm>
          <a:off x="307094" y="1919059"/>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503951">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dirty="0">
                          <a:solidFill>
                            <a:srgbClr val="000000"/>
                          </a:solidFill>
                          <a:latin typeface="+mn-lt"/>
                          <a:ea typeface="Montserrat"/>
                          <a:cs typeface="Montserrat"/>
                          <a:sym typeface="Montserrat"/>
                        </a:rPr>
                        <a:t>Discounters* </a:t>
                      </a:r>
                      <a:r>
                        <a:rPr lang="en" sz="1600" b="1" dirty="0">
                          <a:solidFill>
                            <a:srgbClr val="000000"/>
                          </a:solidFill>
                          <a:latin typeface="+mn-lt"/>
                          <a:ea typeface="Montserrat"/>
                          <a:cs typeface="Montserrat"/>
                          <a:sym typeface="Montserrat"/>
                        </a:rPr>
                        <a:t>+26.7%</a:t>
                      </a:r>
                    </a:p>
                    <a:p>
                      <a:pPr marL="365760" indent="-304800">
                        <a:spcBef>
                          <a:spcPts val="600"/>
                        </a:spcBef>
                        <a:spcAft>
                          <a:spcPts val="600"/>
                        </a:spcAft>
                        <a:buSzPts val="1200"/>
                        <a:buFont typeface="Montserrat"/>
                        <a:buChar char="■"/>
                      </a:pPr>
                      <a:r>
                        <a:rPr lang="en" sz="1600" dirty="0">
                          <a:solidFill>
                            <a:schemeClr val="tx1"/>
                          </a:solidFill>
                          <a:latin typeface="+mn-lt"/>
                          <a:ea typeface="Montserrat"/>
                          <a:cs typeface="Montserrat"/>
                          <a:sym typeface="Montserrat"/>
                        </a:rPr>
                        <a:t>Instore* +13.1%</a:t>
                      </a:r>
                    </a:p>
                    <a:p>
                      <a:pPr marL="365760" indent="-304800">
                        <a:spcBef>
                          <a:spcPts val="600"/>
                        </a:spcBef>
                        <a:spcAft>
                          <a:spcPts val="600"/>
                        </a:spcAft>
                        <a:buSzPts val="1200"/>
                        <a:buFont typeface="Montserrat"/>
                        <a:buChar char="■"/>
                      </a:pPr>
                      <a:r>
                        <a:rPr lang="en" sz="1600" dirty="0">
                          <a:solidFill>
                            <a:schemeClr val="tx1"/>
                          </a:solidFill>
                          <a:latin typeface="+mn-lt"/>
                          <a:ea typeface="Montserrat"/>
                          <a:cs typeface="Montserrat"/>
                          <a:sym typeface="Montserrat"/>
                        </a:rPr>
                        <a:t>Convenience +8.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4" name="Table 24">
            <a:extLst>
              <a:ext uri="{FF2B5EF4-FFF2-40B4-BE49-F238E27FC236}">
                <a16:creationId xmlns:a16="http://schemas.microsoft.com/office/drawing/2014/main" id="{F4025932-CC24-6102-35C6-C6D1A388A25A}"/>
              </a:ext>
            </a:extLst>
          </p:cNvPr>
          <p:cNvGraphicFramePr>
            <a:graphicFrameLocks noGrp="1"/>
          </p:cNvGraphicFramePr>
          <p:nvPr>
            <p:extLst>
              <p:ext uri="{D42A27DB-BD31-4B8C-83A1-F6EECF244321}">
                <p14:modId xmlns:p14="http://schemas.microsoft.com/office/powerpoint/2010/main" val="558760740"/>
              </p:ext>
            </p:extLst>
          </p:nvPr>
        </p:nvGraphicFramePr>
        <p:xfrm>
          <a:off x="256361" y="3718843"/>
          <a:ext cx="5527626" cy="152400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503951">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GB" sz="1600" dirty="0">
                          <a:solidFill>
                            <a:schemeClr val="tx1"/>
                          </a:solidFill>
                          <a:latin typeface="+mj-lt"/>
                          <a:ea typeface="Montserrat"/>
                          <a:cs typeface="Montserrat"/>
                          <a:sym typeface="Montserrat"/>
                        </a:rPr>
                        <a:t>Grocery Multiples +6.6%</a:t>
                      </a:r>
                    </a:p>
                    <a:p>
                      <a:pPr marL="365760" indent="-304800">
                        <a:spcBef>
                          <a:spcPts val="600"/>
                        </a:spcBef>
                        <a:spcAft>
                          <a:spcPts val="600"/>
                        </a:spcAft>
                        <a:buSzPts val="1200"/>
                        <a:buFont typeface="Montserrat"/>
                        <a:buChar char="■"/>
                      </a:pPr>
                      <a:r>
                        <a:rPr lang="en-GB" sz="1600" dirty="0">
                          <a:solidFill>
                            <a:schemeClr val="tx1"/>
                          </a:solidFill>
                          <a:latin typeface="+mj-lt"/>
                          <a:ea typeface="Montserrat"/>
                          <a:cs typeface="Montserrat"/>
                          <a:sym typeface="Montserrat"/>
                        </a:rPr>
                        <a:t>Supermarkets +6.2%</a:t>
                      </a:r>
                    </a:p>
                    <a:p>
                      <a:pPr marL="365760" indent="-304800">
                        <a:spcBef>
                          <a:spcPts val="600"/>
                        </a:spcBef>
                        <a:spcAft>
                          <a:spcPts val="600"/>
                        </a:spcAft>
                        <a:buSzPts val="1200"/>
                        <a:buFont typeface="Montserrat"/>
                        <a:buChar char="■"/>
                      </a:pPr>
                      <a:r>
                        <a:rPr lang="en" sz="1600" dirty="0">
                          <a:solidFill>
                            <a:schemeClr val="tx1"/>
                          </a:solidFill>
                          <a:latin typeface="+mj-lt"/>
                          <a:ea typeface="Montserrat"/>
                          <a:cs typeface="Montserrat"/>
                          <a:sym typeface="Montserrat"/>
                        </a:rPr>
                        <a:t>Value R</a:t>
                      </a:r>
                      <a:r>
                        <a:rPr lang="en-GB" sz="1600" dirty="0">
                          <a:solidFill>
                            <a:schemeClr val="tx1"/>
                          </a:solidFill>
                          <a:latin typeface="+mj-lt"/>
                          <a:ea typeface="Montserrat"/>
                          <a:cs typeface="Montserrat"/>
                          <a:sym typeface="Montserrat"/>
                        </a:rPr>
                        <a:t>e</a:t>
                      </a:r>
                      <a:r>
                        <a:rPr lang="en" sz="1600" dirty="0">
                          <a:solidFill>
                            <a:schemeClr val="tx1"/>
                          </a:solidFill>
                          <a:latin typeface="+mj-lt"/>
                          <a:ea typeface="Montserrat"/>
                          <a:cs typeface="Montserrat"/>
                          <a:sym typeface="Montserrat"/>
                        </a:rPr>
                        <a:t>tailers** </a:t>
                      </a:r>
                      <a:r>
                        <a:rPr lang="en" sz="1600" b="0" dirty="0">
                          <a:solidFill>
                            <a:schemeClr val="tx1"/>
                          </a:solidFill>
                          <a:latin typeface="+mj-lt"/>
                          <a:ea typeface="Montserrat"/>
                          <a:cs typeface="Montserrat"/>
                          <a:sym typeface="Montserrat"/>
                        </a:rPr>
                        <a:t>+5.8%</a:t>
                      </a:r>
                    </a:p>
                    <a:p>
                      <a:pPr marL="365760" indent="-304800">
                        <a:spcBef>
                          <a:spcPts val="600"/>
                        </a:spcBef>
                        <a:spcAft>
                          <a:spcPts val="600"/>
                        </a:spcAft>
                        <a:buSzPts val="1200"/>
                        <a:buFont typeface="Montserrat"/>
                        <a:buChar char="■"/>
                      </a:pPr>
                      <a:r>
                        <a:rPr lang="en-GB" sz="1600" b="1" dirty="0">
                          <a:solidFill>
                            <a:srgbClr val="000000"/>
                          </a:solidFill>
                          <a:latin typeface="+mj-lt"/>
                          <a:ea typeface="Montserrat"/>
                          <a:cs typeface="Montserrat"/>
                          <a:sym typeface="Montserrat"/>
                        </a:rPr>
                        <a:t>Online* -2.5%</a:t>
                      </a:r>
                      <a:endParaRPr lang="en-US" sz="1600" dirty="0">
                        <a:solidFill>
                          <a:schemeClr val="tx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3" name="TextBox 2">
            <a:extLst>
              <a:ext uri="{FF2B5EF4-FFF2-40B4-BE49-F238E27FC236}">
                <a16:creationId xmlns:a16="http://schemas.microsoft.com/office/drawing/2014/main" id="{426632B0-24E3-5823-D913-0ACD9281E31A}"/>
              </a:ext>
            </a:extLst>
          </p:cNvPr>
          <p:cNvSpPr txBox="1"/>
          <p:nvPr/>
        </p:nvSpPr>
        <p:spPr>
          <a:xfrm>
            <a:off x="188354" y="1544323"/>
            <a:ext cx="6197956" cy="369332"/>
          </a:xfrm>
          <a:prstGeom prst="rect">
            <a:avLst/>
          </a:prstGeom>
          <a:noFill/>
        </p:spPr>
        <p:txBody>
          <a:bodyPr wrap="square">
            <a:spAutoFit/>
          </a:bodyPr>
          <a:lstStyle/>
          <a:p>
            <a:pPr algn="l"/>
            <a:r>
              <a:rPr lang="en-US" sz="1800" i="1" dirty="0">
                <a:solidFill>
                  <a:schemeClr val="tx1"/>
                </a:solidFill>
                <a:latin typeface="Georgia" panose="02040502050405020303" pitchFamily="18" charset="0"/>
              </a:rPr>
              <a:t>Tailwinds</a:t>
            </a:r>
          </a:p>
        </p:txBody>
      </p:sp>
      <p:sp>
        <p:nvSpPr>
          <p:cNvPr id="8" name="TextBox 7">
            <a:extLst>
              <a:ext uri="{FF2B5EF4-FFF2-40B4-BE49-F238E27FC236}">
                <a16:creationId xmlns:a16="http://schemas.microsoft.com/office/drawing/2014/main" id="{394067D0-1D15-9363-A718-46E30B337614}"/>
              </a:ext>
            </a:extLst>
          </p:cNvPr>
          <p:cNvSpPr txBox="1"/>
          <p:nvPr/>
        </p:nvSpPr>
        <p:spPr>
          <a:xfrm>
            <a:off x="181915" y="3347365"/>
            <a:ext cx="6197956" cy="369332"/>
          </a:xfrm>
          <a:prstGeom prst="rect">
            <a:avLst/>
          </a:prstGeom>
          <a:noFill/>
        </p:spPr>
        <p:txBody>
          <a:bodyPr wrap="square">
            <a:spAutoFit/>
          </a:bodyPr>
          <a:lstStyle/>
          <a:p>
            <a:r>
              <a:rPr lang="en-US" sz="1800" i="1" dirty="0">
                <a:solidFill>
                  <a:schemeClr val="tx1"/>
                </a:solidFill>
                <a:latin typeface="Georgia" panose="02040502050405020303" pitchFamily="18" charset="0"/>
              </a:rPr>
              <a:t>Headwinds</a:t>
            </a:r>
          </a:p>
        </p:txBody>
      </p:sp>
    </p:spTree>
    <p:extLst>
      <p:ext uri="{BB962C8B-B14F-4D97-AF65-F5344CB8AC3E}">
        <p14:creationId xmlns:p14="http://schemas.microsoft.com/office/powerpoint/2010/main" val="19219660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50</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79F5CF9-C3C8-86BD-3070-6CBD9CEDBEFA}"/>
              </a:ext>
            </a:extLst>
          </p:cNvPr>
          <p:cNvPicPr>
            <a:picLocks noChangeAspect="1"/>
          </p:cNvPicPr>
          <p:nvPr/>
        </p:nvPicPr>
        <p:blipFill>
          <a:blip r:embed="rId2"/>
          <a:stretch>
            <a:fillRect/>
          </a:stretch>
        </p:blipFill>
        <p:spPr>
          <a:xfrm>
            <a:off x="4465877" y="1919794"/>
            <a:ext cx="6944296" cy="3922395"/>
          </a:xfrm>
          <a:prstGeom prst="rect">
            <a:avLst/>
          </a:prstGeom>
        </p:spPr>
      </p:pic>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40074" y="3307373"/>
            <a:ext cx="3503952" cy="2390972"/>
          </a:xfrm>
        </p:spPr>
        <p:txBody>
          <a:bodyPr/>
          <a:lstStyle/>
          <a:p>
            <a:r>
              <a:rPr lang="en-US" sz="2400" dirty="0">
                <a:latin typeface="Georgia" panose="02040502050405020303" pitchFamily="18" charset="0"/>
              </a:rPr>
              <a:t>Shoppers are having to spend </a:t>
            </a:r>
            <a:r>
              <a:rPr lang="en-US" sz="2400" b="0" i="1" dirty="0">
                <a:latin typeface="Georgia" panose="02040502050405020303" pitchFamily="18" charset="0"/>
              </a:rPr>
              <a:t>significantly more</a:t>
            </a:r>
            <a:r>
              <a:rPr lang="en-US" sz="2400" dirty="0">
                <a:latin typeface="Georgia" panose="02040502050405020303" pitchFamily="18" charset="0"/>
              </a:rPr>
              <a:t> for their </a:t>
            </a:r>
            <a:r>
              <a:rPr lang="en-US" sz="2400" b="0" i="1" dirty="0">
                <a:latin typeface="Georgia" panose="02040502050405020303" pitchFamily="18" charset="0"/>
              </a:rPr>
              <a:t>core groceries</a:t>
            </a:r>
            <a:r>
              <a:rPr lang="en-US" sz="2400" dirty="0">
                <a:latin typeface="Georgia" panose="02040502050405020303" pitchFamily="18" charset="0"/>
              </a:rPr>
              <a:t> and continue to cut back on </a:t>
            </a:r>
            <a:r>
              <a:rPr lang="en-US" sz="2400" b="0" i="1" dirty="0">
                <a:latin typeface="Georgia" panose="02040502050405020303" pitchFamily="18" charset="0"/>
              </a:rPr>
              <a:t>BWS</a:t>
            </a:r>
            <a:r>
              <a:rPr lang="en-US" sz="2400" dirty="0">
                <a:latin typeface="Georgia" panose="02040502050405020303" pitchFamily="18" charset="0"/>
              </a:rPr>
              <a:t> and </a:t>
            </a:r>
            <a:r>
              <a:rPr lang="en-US" sz="2400" b="0" i="1" dirty="0">
                <a:latin typeface="Georgia" panose="02040502050405020303" pitchFamily="18" charset="0"/>
              </a:rPr>
              <a:t>General Merchandise </a:t>
            </a:r>
            <a:r>
              <a:rPr lang="en-US" sz="2400" dirty="0">
                <a:latin typeface="Georgia" panose="02040502050405020303" pitchFamily="18" charset="0"/>
              </a:rPr>
              <a:t>to </a:t>
            </a:r>
            <a:r>
              <a:rPr lang="en-US" sz="2400" b="0" i="1" dirty="0">
                <a:latin typeface="Georgia" panose="02040502050405020303" pitchFamily="18" charset="0"/>
              </a:rPr>
              <a:t>help manage budgets</a:t>
            </a:r>
            <a:r>
              <a:rPr lang="en-US" sz="2400" dirty="0">
                <a:latin typeface="Georgia" panose="02040502050405020303" pitchFamily="18" charset="0"/>
              </a:rPr>
              <a:t>.</a:t>
            </a:r>
            <a:br>
              <a:rPr lang="en-US" sz="2400" dirty="0">
                <a:latin typeface="Georgia" panose="02040502050405020303" pitchFamily="18" charset="0"/>
              </a:rPr>
            </a:br>
            <a:endParaRPr lang="en-US"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else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1">
                    <a:lumMod val="50000"/>
                  </a:schemeClr>
                </a:solidFill>
                <a:latin typeface="Arial" panose="020B0604020202020204" pitchFamily="34" charset="0"/>
                <a:ea typeface="Montserrat"/>
                <a:cs typeface="Arial" panose="020B0604020202020204" pitchFamily="34" charset="0"/>
                <a:sym typeface="Montserrat"/>
              </a:rPr>
              <a:t>Value sales growth by supercategory</a:t>
            </a:r>
          </a:p>
        </p:txBody>
      </p:sp>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1</a:t>
            </a:fld>
            <a:endParaRPr lang="en-US" dirty="0"/>
          </a:p>
        </p:txBody>
      </p:sp>
      <p:sp>
        <p:nvSpPr>
          <p:cNvPr id="10" name="Oval 9">
            <a:extLst>
              <a:ext uri="{FF2B5EF4-FFF2-40B4-BE49-F238E27FC236}">
                <a16:creationId xmlns:a16="http://schemas.microsoft.com/office/drawing/2014/main" id="{2108B08B-3FFB-787B-3561-D333F5CD2702}"/>
              </a:ext>
            </a:extLst>
          </p:cNvPr>
          <p:cNvSpPr/>
          <p:nvPr/>
        </p:nvSpPr>
        <p:spPr>
          <a:xfrm>
            <a:off x="10923944" y="2878429"/>
            <a:ext cx="459225" cy="372948"/>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1" name="Oval 10">
            <a:extLst>
              <a:ext uri="{FF2B5EF4-FFF2-40B4-BE49-F238E27FC236}">
                <a16:creationId xmlns:a16="http://schemas.microsoft.com/office/drawing/2014/main" id="{E8FE3697-4008-A3AA-A660-D375A19B571C}"/>
              </a:ext>
            </a:extLst>
          </p:cNvPr>
          <p:cNvSpPr/>
          <p:nvPr/>
        </p:nvSpPr>
        <p:spPr>
          <a:xfrm>
            <a:off x="10923944" y="2359321"/>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2" name="Oval 11">
            <a:extLst>
              <a:ext uri="{FF2B5EF4-FFF2-40B4-BE49-F238E27FC236}">
                <a16:creationId xmlns:a16="http://schemas.microsoft.com/office/drawing/2014/main" id="{64D91D4A-5275-AB9E-B938-E72694EA2CB7}"/>
              </a:ext>
            </a:extLst>
          </p:cNvPr>
          <p:cNvSpPr/>
          <p:nvPr/>
        </p:nvSpPr>
        <p:spPr>
          <a:xfrm>
            <a:off x="10923944" y="3426119"/>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3" name="Oval 12">
            <a:extLst>
              <a:ext uri="{FF2B5EF4-FFF2-40B4-BE49-F238E27FC236}">
                <a16:creationId xmlns:a16="http://schemas.microsoft.com/office/drawing/2014/main" id="{01581290-A54D-B473-C3E8-88D91616AA20}"/>
              </a:ext>
            </a:extLst>
          </p:cNvPr>
          <p:cNvSpPr/>
          <p:nvPr/>
        </p:nvSpPr>
        <p:spPr>
          <a:xfrm>
            <a:off x="10923944" y="3806045"/>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7" name="Oval 16">
            <a:extLst>
              <a:ext uri="{FF2B5EF4-FFF2-40B4-BE49-F238E27FC236}">
                <a16:creationId xmlns:a16="http://schemas.microsoft.com/office/drawing/2014/main" id="{E42DE41C-77B8-76CE-E637-604BF9CA7583}"/>
              </a:ext>
            </a:extLst>
          </p:cNvPr>
          <p:cNvSpPr/>
          <p:nvPr/>
        </p:nvSpPr>
        <p:spPr>
          <a:xfrm>
            <a:off x="10923944" y="4305834"/>
            <a:ext cx="459225" cy="372948"/>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8" name="Oval 17">
            <a:extLst>
              <a:ext uri="{FF2B5EF4-FFF2-40B4-BE49-F238E27FC236}">
                <a16:creationId xmlns:a16="http://schemas.microsoft.com/office/drawing/2014/main" id="{711F70B2-7B47-1A42-1974-195C21BA6437}"/>
              </a:ext>
            </a:extLst>
          </p:cNvPr>
          <p:cNvSpPr/>
          <p:nvPr/>
        </p:nvSpPr>
        <p:spPr>
          <a:xfrm>
            <a:off x="10923944" y="4872842"/>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7916714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567F962-559A-B257-80E4-D9219EED8A84}"/>
              </a:ext>
            </a:extLst>
          </p:cNvPr>
          <p:cNvPicPr>
            <a:picLocks noChangeAspect="1"/>
          </p:cNvPicPr>
          <p:nvPr/>
        </p:nvPicPr>
        <p:blipFill>
          <a:blip r:embed="rId2"/>
          <a:stretch>
            <a:fillRect/>
          </a:stretch>
        </p:blipFill>
        <p:spPr>
          <a:xfrm>
            <a:off x="4423893" y="1964905"/>
            <a:ext cx="6858000" cy="3922618"/>
          </a:xfrm>
          <a:prstGeom prst="rect">
            <a:avLst/>
          </a:prstGeom>
        </p:spPr>
      </p:pic>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352954" y="3352449"/>
            <a:ext cx="3503952" cy="2390972"/>
          </a:xfrm>
        </p:spPr>
        <p:txBody>
          <a:bodyPr/>
          <a:lstStyle/>
          <a:p>
            <a:r>
              <a:rPr lang="en-US" sz="2000" dirty="0">
                <a:latin typeface="Georgia" panose="02040502050405020303" pitchFamily="18" charset="0"/>
              </a:rPr>
              <a:t>After cutting back in January, volume declines </a:t>
            </a:r>
            <a:r>
              <a:rPr lang="en-US" sz="2000" b="0" i="1" dirty="0">
                <a:latin typeface="Georgia" panose="02040502050405020303" pitchFamily="18" charset="0"/>
              </a:rPr>
              <a:t>slowed</a:t>
            </a:r>
            <a:r>
              <a:rPr lang="en-US" sz="2000" dirty="0">
                <a:latin typeface="Georgia" panose="02040502050405020303" pitchFamily="18" charset="0"/>
              </a:rPr>
              <a:t> in February with </a:t>
            </a:r>
            <a:r>
              <a:rPr lang="en-US" sz="2000" b="0" i="1" dirty="0">
                <a:latin typeface="Georgia" panose="02040502050405020303" pitchFamily="18" charset="0"/>
              </a:rPr>
              <a:t>most grocery </a:t>
            </a:r>
            <a:r>
              <a:rPr lang="en-US" sz="2000" dirty="0">
                <a:latin typeface="Georgia" panose="02040502050405020303" pitchFamily="18" charset="0"/>
              </a:rPr>
              <a:t>categories</a:t>
            </a:r>
            <a:r>
              <a:rPr lang="en-US" sz="2000" b="0" i="1" dirty="0">
                <a:latin typeface="Georgia" panose="02040502050405020303" pitchFamily="18" charset="0"/>
              </a:rPr>
              <a:t> </a:t>
            </a:r>
            <a:r>
              <a:rPr lang="en-US" sz="2000" dirty="0">
                <a:latin typeface="Georgia" panose="02040502050405020303" pitchFamily="18" charset="0"/>
              </a:rPr>
              <a:t>benefiting.</a:t>
            </a:r>
            <a:br>
              <a:rPr lang="en-US" sz="2000" b="0" i="1" dirty="0">
                <a:latin typeface="Georgia" panose="02040502050405020303" pitchFamily="18" charset="0"/>
              </a:rPr>
            </a:br>
            <a:br>
              <a:rPr lang="en-US" sz="2000" b="0" i="1" dirty="0">
                <a:latin typeface="Georgia" panose="02040502050405020303" pitchFamily="18" charset="0"/>
              </a:rPr>
            </a:br>
            <a:r>
              <a:rPr lang="en-US" sz="2000" dirty="0">
                <a:latin typeface="Georgia" panose="02040502050405020303" pitchFamily="18" charset="0"/>
              </a:rPr>
              <a:t>Units</a:t>
            </a:r>
            <a:r>
              <a:rPr lang="en-US" sz="2000" b="0" i="1" dirty="0">
                <a:latin typeface="Georgia" panose="02040502050405020303" pitchFamily="18" charset="0"/>
              </a:rPr>
              <a:t> improved </a:t>
            </a:r>
            <a:r>
              <a:rPr lang="en-US" sz="2000" dirty="0">
                <a:latin typeface="Georgia" panose="02040502050405020303" pitchFamily="18" charset="0"/>
              </a:rPr>
              <a:t>in just 3 categories </a:t>
            </a:r>
            <a:r>
              <a:rPr lang="en-US" sz="2000" b="0" i="1" dirty="0">
                <a:latin typeface="Georgia" panose="02040502050405020303" pitchFamily="18" charset="0"/>
              </a:rPr>
              <a:t>Soft Drinks, Crisps &amp; Snacks</a:t>
            </a:r>
            <a:r>
              <a:rPr lang="en-US" sz="2000" dirty="0">
                <a:latin typeface="Georgia" panose="02040502050405020303" pitchFamily="18" charset="0"/>
              </a:rPr>
              <a:t> and </a:t>
            </a:r>
            <a:r>
              <a:rPr lang="en-US" sz="2000" b="0" i="1" dirty="0">
                <a:latin typeface="Georgia" panose="02040502050405020303" pitchFamily="18" charset="0"/>
              </a:rPr>
              <a:t>Health &amp; Beauty, </a:t>
            </a:r>
            <a:r>
              <a:rPr lang="en-US" sz="2000" dirty="0">
                <a:latin typeface="Georgia" panose="02040502050405020303" pitchFamily="18" charset="0"/>
              </a:rPr>
              <a:t>reflecting the increased demand this month for </a:t>
            </a:r>
            <a:r>
              <a:rPr lang="en-US" sz="2000" b="0" i="1" dirty="0">
                <a:latin typeface="Georgia" panose="02040502050405020303" pitchFamily="18" charset="0"/>
              </a:rPr>
              <a:t>Beauty products </a:t>
            </a:r>
            <a:r>
              <a:rPr lang="en-US" sz="2000" dirty="0">
                <a:latin typeface="Georgia" panose="02040502050405020303" pitchFamily="18" charset="0"/>
              </a:rPr>
              <a:t>as well as </a:t>
            </a:r>
            <a:r>
              <a:rPr lang="en-US" sz="2000" b="0" i="1" dirty="0">
                <a:latin typeface="Georgia" panose="02040502050405020303" pitchFamily="18" charset="0"/>
              </a:rPr>
              <a:t>Vitamins, Suncare </a:t>
            </a:r>
            <a:r>
              <a:rPr lang="en-US" sz="2000" dirty="0">
                <a:latin typeface="Georgia" panose="02040502050405020303" pitchFamily="18" charset="0"/>
              </a:rPr>
              <a:t>and </a:t>
            </a:r>
            <a:r>
              <a:rPr lang="en-US" sz="2000" b="0" i="1" dirty="0">
                <a:latin typeface="Georgia" panose="02040502050405020303" pitchFamily="18" charset="0"/>
              </a:rPr>
              <a:t>Cough/Cold remedies.</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elsenIQ Scantrack Grocery Multiples</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1">
                    <a:lumMod val="50000"/>
                  </a:schemeClr>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52</a:t>
            </a:fld>
            <a:endParaRPr lang="en-US" dirty="0"/>
          </a:p>
        </p:txBody>
      </p:sp>
      <p:sp>
        <p:nvSpPr>
          <p:cNvPr id="5" name="Oval 4">
            <a:extLst>
              <a:ext uri="{FF2B5EF4-FFF2-40B4-BE49-F238E27FC236}">
                <a16:creationId xmlns:a16="http://schemas.microsoft.com/office/drawing/2014/main" id="{BA8666E7-E481-0051-828D-A913E7164B83}"/>
              </a:ext>
            </a:extLst>
          </p:cNvPr>
          <p:cNvSpPr/>
          <p:nvPr/>
        </p:nvSpPr>
        <p:spPr>
          <a:xfrm>
            <a:off x="10739353" y="2971067"/>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6" name="Oval 5">
            <a:extLst>
              <a:ext uri="{FF2B5EF4-FFF2-40B4-BE49-F238E27FC236}">
                <a16:creationId xmlns:a16="http://schemas.microsoft.com/office/drawing/2014/main" id="{16625DB4-4E96-B79A-81CC-564FCE406CB3}"/>
              </a:ext>
            </a:extLst>
          </p:cNvPr>
          <p:cNvSpPr/>
          <p:nvPr/>
        </p:nvSpPr>
        <p:spPr>
          <a:xfrm>
            <a:off x="10739353" y="3849105"/>
            <a:ext cx="459225" cy="144017"/>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0" name="Oval 9">
            <a:extLst>
              <a:ext uri="{FF2B5EF4-FFF2-40B4-BE49-F238E27FC236}">
                <a16:creationId xmlns:a16="http://schemas.microsoft.com/office/drawing/2014/main" id="{4B28075A-CE37-FF31-8E67-8B0CCD11F39F}"/>
              </a:ext>
            </a:extLst>
          </p:cNvPr>
          <p:cNvSpPr/>
          <p:nvPr/>
        </p:nvSpPr>
        <p:spPr>
          <a:xfrm>
            <a:off x="10739353" y="4862116"/>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11" name="Oval 10">
            <a:extLst>
              <a:ext uri="{FF2B5EF4-FFF2-40B4-BE49-F238E27FC236}">
                <a16:creationId xmlns:a16="http://schemas.microsoft.com/office/drawing/2014/main" id="{D698A0B8-084F-776F-0CC8-78ACFFDFB8F6}"/>
              </a:ext>
            </a:extLst>
          </p:cNvPr>
          <p:cNvSpPr/>
          <p:nvPr/>
        </p:nvSpPr>
        <p:spPr>
          <a:xfrm>
            <a:off x="10739353" y="5692803"/>
            <a:ext cx="459225" cy="157959"/>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851910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p:txBody>
          <a:bodyPr/>
          <a:lstStyle/>
          <a:p>
            <a:r>
              <a:rPr lang="en-US" sz="3600" b="0" i="1" dirty="0">
                <a:latin typeface="Georgia" panose="02040502050405020303" pitchFamily="18" charset="0"/>
              </a:rPr>
              <a:t>Sales had more momentum</a:t>
            </a:r>
            <a:endParaRPr lang="en-US" b="0" i="1" dirty="0">
              <a:latin typeface="Georgia" panose="02040502050405020303" pitchFamily="18" charset="0"/>
            </a:endParaRPr>
          </a:p>
        </p:txBody>
      </p:sp>
      <p:sp>
        <p:nvSpPr>
          <p:cNvPr id="5" name="Subtitle 4">
            <a:extLst>
              <a:ext uri="{FF2B5EF4-FFF2-40B4-BE49-F238E27FC236}">
                <a16:creationId xmlns:a16="http://schemas.microsoft.com/office/drawing/2014/main" id="{2F47DBD3-93EA-1790-B2F6-4A242AEDBFBC}"/>
              </a:ext>
            </a:extLst>
          </p:cNvPr>
          <p:cNvSpPr>
            <a:spLocks noGrp="1"/>
          </p:cNvSpPr>
          <p:nvPr>
            <p:ph type="subTitle" idx="13"/>
          </p:nvPr>
        </p:nvSpPr>
        <p:spPr/>
        <p:txBody>
          <a:bodyPr/>
          <a:lstStyle/>
          <a:p>
            <a:r>
              <a:rPr lang="en-US" b="1" dirty="0"/>
              <a:t>After cutting back in January, sales were more </a:t>
            </a:r>
            <a:r>
              <a:rPr lang="en-US" i="1" dirty="0"/>
              <a:t>upbeat</a:t>
            </a:r>
            <a:r>
              <a:rPr lang="en-US" b="1" dirty="0"/>
              <a:t> in </a:t>
            </a:r>
            <a:r>
              <a:rPr lang="en-US" i="1" dirty="0"/>
              <a:t>February</a:t>
            </a:r>
            <a:r>
              <a:rPr lang="en-US" b="1" dirty="0"/>
              <a:t>.  Shoppers had to contend with </a:t>
            </a:r>
            <a:r>
              <a:rPr lang="en-US" i="1" dirty="0">
                <a:latin typeface="Georgia" panose="02040502050405020303" pitchFamily="18" charset="0"/>
              </a:rPr>
              <a:t>rising inflation </a:t>
            </a:r>
            <a:r>
              <a:rPr lang="en-US" b="1" dirty="0"/>
              <a:t>so will have had to </a:t>
            </a:r>
            <a:r>
              <a:rPr lang="en-US" i="1" dirty="0">
                <a:latin typeface="Georgia" panose="02040502050405020303" pitchFamily="18" charset="0"/>
              </a:rPr>
              <a:t>manage</a:t>
            </a:r>
            <a:r>
              <a:rPr lang="en-US" b="1" dirty="0"/>
              <a:t> spend to afford </a:t>
            </a:r>
            <a:r>
              <a:rPr lang="en-US" i="1" dirty="0">
                <a:latin typeface="Georgia" panose="02040502050405020303" pitchFamily="18" charset="0"/>
              </a:rPr>
              <a:t>treats</a:t>
            </a:r>
            <a:r>
              <a:rPr lang="en-US" b="1" dirty="0"/>
              <a:t> that </a:t>
            </a:r>
            <a:r>
              <a:rPr lang="en-US" i="1" dirty="0">
                <a:latin typeface="Georgia" panose="02040502050405020303" pitchFamily="18" charset="0"/>
              </a:rPr>
              <a:t>mattered</a:t>
            </a:r>
            <a:r>
              <a:rPr lang="en-US" b="1" dirty="0"/>
              <a:t>.</a:t>
            </a: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else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3540727465"/>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2"/>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445511" y="1156455"/>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a:cs typeface="Arial" panose="020B0604020202020204" pitchFamily="34" charset="0"/>
                <a:sym typeface="Montserrat"/>
              </a:rPr>
              <a:t>Growths accelerated in February, fuelled by inflation</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
        <p:nvSpPr>
          <p:cNvPr id="7" name="TextBox 6">
            <a:extLst>
              <a:ext uri="{FF2B5EF4-FFF2-40B4-BE49-F238E27FC236}">
                <a16:creationId xmlns:a16="http://schemas.microsoft.com/office/drawing/2014/main" id="{794C094E-1409-FB60-6CC0-868C7AF87106}"/>
              </a:ext>
            </a:extLst>
          </p:cNvPr>
          <p:cNvSpPr txBox="1"/>
          <p:nvPr/>
        </p:nvSpPr>
        <p:spPr>
          <a:xfrm>
            <a:off x="4445512" y="1692875"/>
            <a:ext cx="997639" cy="389238"/>
          </a:xfrm>
          <a:prstGeom prst="rect">
            <a:avLst/>
          </a:prstGeom>
          <a:noFill/>
        </p:spPr>
        <p:txBody>
          <a:bodyPr wrap="square" lIns="0" rIns="0" rtlCol="0">
            <a:noAutofit/>
          </a:bodyPr>
          <a:lstStyle/>
          <a:p>
            <a:pPr algn="l">
              <a:spcAft>
                <a:spcPts val="600"/>
              </a:spcAft>
            </a:pPr>
            <a:r>
              <a:rPr lang="en-GB" sz="900" dirty="0"/>
              <a:t>4w/e growth vs </a:t>
            </a:r>
            <a:r>
              <a:rPr lang="en-GB" sz="900" b="1" dirty="0"/>
              <a:t>prior</a:t>
            </a:r>
            <a:r>
              <a:rPr lang="en-GB" sz="900" dirty="0"/>
              <a:t> period</a:t>
            </a:r>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2669357667"/>
              </p:ext>
            </p:extLst>
          </p:nvPr>
        </p:nvGraphicFramePr>
        <p:xfrm>
          <a:off x="288561" y="2762392"/>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2739990847"/>
              </p:ext>
            </p:extLst>
          </p:nvPr>
        </p:nvGraphicFramePr>
        <p:xfrm>
          <a:off x="3247063" y="2762393"/>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1281412246"/>
              </p:ext>
            </p:extLst>
          </p:nvPr>
        </p:nvGraphicFramePr>
        <p:xfrm>
          <a:off x="6205566" y="2762393"/>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2202172285"/>
              </p:ext>
            </p:extLst>
          </p:nvPr>
        </p:nvGraphicFramePr>
        <p:xfrm>
          <a:off x="9157892" y="2743858"/>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288559" y="2816485"/>
            <a:ext cx="2646171" cy="3102401"/>
          </a:xfrm>
        </p:spPr>
        <p:txBody>
          <a:bodyPr lIns="91440" rIns="91440"/>
          <a:lstStyle/>
          <a:p>
            <a:pPr marL="0" indent="0">
              <a:buNone/>
            </a:pPr>
            <a:r>
              <a:rPr lang="en-US" sz="1400" b="1" dirty="0"/>
              <a:t>Shoppers focused on keeping warm, fending off colds and seeking cheaper meal alternatives.</a:t>
            </a:r>
          </a:p>
          <a:p>
            <a:r>
              <a:rPr lang="en-US" sz="1000" dirty="0"/>
              <a:t>Throatcare lead the sub categories, followed by Cough/Cold &amp; Flu</a:t>
            </a:r>
          </a:p>
          <a:p>
            <a:r>
              <a:rPr lang="en-US" sz="1000" dirty="0"/>
              <a:t>Shoppers kept warm with more spend on Firelighters and Ambient Soup</a:t>
            </a:r>
          </a:p>
          <a:p>
            <a:r>
              <a:rPr lang="en-US" sz="1000" dirty="0"/>
              <a:t>Frozen Food led the supercategories with strong growth from Frozen Poultry and Potato Products</a:t>
            </a:r>
          </a:p>
          <a:p>
            <a:endParaRPr lang="en-US" sz="1400" dirty="0"/>
          </a:p>
          <a:p>
            <a:pPr marL="0" indent="0">
              <a:buNone/>
            </a:pPr>
            <a:endParaRPr lang="pt-BR" sz="1400" dirty="0"/>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52475" y="2797950"/>
            <a:ext cx="2774837" cy="3139472"/>
          </a:xfrm>
        </p:spPr>
        <p:txBody>
          <a:bodyPr vert="horz" lIns="91440" tIns="45720" rIns="91440" bIns="45720" rtlCol="0">
            <a:noAutofit/>
          </a:bodyPr>
          <a:lstStyle/>
          <a:p>
            <a:pPr marL="0" indent="0">
              <a:buNone/>
            </a:pPr>
            <a:r>
              <a:rPr lang="en-US" sz="1400" b="1" dirty="0"/>
              <a:t>In 2022, Valentine’s Day fell on a Monday, so shoppers did bring forward some spend.</a:t>
            </a:r>
          </a:p>
          <a:p>
            <a:r>
              <a:rPr lang="en-US" sz="1000" dirty="0"/>
              <a:t>Against tougher comparatives both value and unit growths weakened slightly.</a:t>
            </a:r>
          </a:p>
          <a:p>
            <a:r>
              <a:rPr lang="en-US" sz="1000" dirty="0"/>
              <a:t>Cheaper meal alternatives, staples, snacking nuts led growth in the food categories.</a:t>
            </a:r>
          </a:p>
          <a:p>
            <a:r>
              <a:rPr lang="en-US" sz="1000" dirty="0"/>
              <a:t>Ambient Soup, Frozen Poultry, Oil, Dry Noodles, Milk, Frozen Potato, Dry Pasta, also had strong growth.</a:t>
            </a:r>
          </a:p>
          <a:p>
            <a:endParaRPr lang="en-US" sz="1200" dirty="0"/>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828841"/>
            <a:ext cx="2706889" cy="2845279"/>
          </a:xfrm>
        </p:spPr>
        <p:txBody>
          <a:bodyPr vert="horz" lIns="91440" tIns="45720" rIns="91440" bIns="45720" rtlCol="0">
            <a:noAutofit/>
          </a:bodyPr>
          <a:lstStyle/>
          <a:p>
            <a:pPr marL="0" indent="0">
              <a:buNone/>
            </a:pPr>
            <a:r>
              <a:rPr lang="en-US" sz="1400" b="1" dirty="0"/>
              <a:t>Value sales improved on prior week and unit declines slowed to -3.4%.</a:t>
            </a:r>
          </a:p>
          <a:p>
            <a:r>
              <a:rPr lang="en-US" sz="1000" dirty="0"/>
              <a:t>Valentine’s Gifting helped to lift some discretionary categories including Gift Packs (Toiletries), Greetings Cards and Fragrances.</a:t>
            </a:r>
          </a:p>
          <a:p>
            <a:r>
              <a:rPr lang="en-US" sz="1000" dirty="0"/>
              <a:t>There were also higher uplifts for ‘food to go’ categories including Snacking Nuts, Sandwiches and Rolls &amp; Baguettes.</a:t>
            </a:r>
          </a:p>
          <a:p>
            <a:r>
              <a:rPr lang="en-US" sz="1000" dirty="0"/>
              <a:t>Some shoppers may also have been treated with Frozen Bakery breakfast treats.</a:t>
            </a:r>
            <a:endParaRPr lang="pt-BR" sz="1000" b="1"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80311" y="2816485"/>
            <a:ext cx="2706889" cy="2845279"/>
          </a:xfrm>
        </p:spPr>
        <p:txBody>
          <a:bodyPr vert="horz" lIns="91440" tIns="45720" rIns="91440" bIns="45720" rtlCol="0">
            <a:noAutofit/>
          </a:bodyPr>
          <a:lstStyle/>
          <a:p>
            <a:pPr marL="0" indent="0">
              <a:buNone/>
            </a:pPr>
            <a:r>
              <a:rPr lang="en-US" sz="1400" b="1" dirty="0"/>
              <a:t>Shoppers are economizing but still have cash to spend on their gardens</a:t>
            </a:r>
          </a:p>
          <a:p>
            <a:r>
              <a:rPr lang="en-US" sz="1000" dirty="0"/>
              <a:t>Top performing sub categories included:  Cough/Cold remedies, Oil, Eggs, Milk, Frozen Veg, Bulbs &amp; Seeds and Gardening.</a:t>
            </a:r>
          </a:p>
          <a:p>
            <a:pPr marL="0" indent="0">
              <a:buNone/>
            </a:pPr>
            <a:endParaRPr lang="pt-BR" sz="1400" b="1"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23"/>
          </p:nvPr>
        </p:nvSpPr>
        <p:spPr>
          <a:xfrm>
            <a:off x="300915" y="6164500"/>
            <a:ext cx="11582399" cy="365125"/>
          </a:xfrm>
        </p:spPr>
        <p:txBody>
          <a:bodyPr/>
          <a:lstStyle/>
          <a:p>
            <a:endParaRPr lang="en-GB" sz="800" dirty="0">
              <a:latin typeface="Montserrat" panose="00000500000000000000" pitchFamily="2" charset="0"/>
            </a:endParaRPr>
          </a:p>
          <a:p>
            <a:endParaRPr lang="en-GB" dirty="0">
              <a:latin typeface="Montserrat" panose="00000500000000000000" pitchFamily="2" charset="0"/>
            </a:endParaRPr>
          </a:p>
          <a:p>
            <a:r>
              <a:rPr lang="en-GB" sz="800" dirty="0">
                <a:latin typeface="Montserrat" panose="00000500000000000000" pitchFamily="2" charset="0"/>
              </a:rPr>
              <a:t>Source:  NielsenIQ Scantrack Grocery Multiples</a:t>
            </a:r>
            <a:endParaRPr lang="en-GB" sz="800" dirty="0"/>
          </a:p>
          <a:p>
            <a:endParaRPr lang="en-US"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noFill/>
          <a:ln>
            <a:noFill/>
          </a:ln>
        </p:spPr>
        <p:txBody>
          <a:bodyPr spcFirstLastPara="1" wrap="square" lIns="0" tIns="48767" rIns="0" bIns="48767" anchor="ctr" anchorCtr="0">
            <a:noAutofit/>
          </a:bodyPr>
          <a:lstStyle/>
          <a:p>
            <a:pPr algn="l">
              <a:buNone/>
            </a:pPr>
            <a:r>
              <a:rPr lang="en-US" dirty="0">
                <a:latin typeface="+mj-lt"/>
                <a:sym typeface="Montserrat"/>
              </a:rPr>
              <a:t>As everyday essentials continue to cost shoppers more, shoppers managed spend by seeking cheaper alternatives but still splashed out on loved ones for Valentine’s Day.</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8" y="160182"/>
            <a:ext cx="11582400" cy="397352"/>
          </a:xfrm>
        </p:spPr>
        <p:txBody>
          <a:bodyPr vert="horz"/>
          <a:lstStyle/>
          <a:p>
            <a:r>
              <a:rPr lang="en-US" dirty="0"/>
              <a:t>Shoppers remain mindful of inflation</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288559" y="2028459"/>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A cold start to February</a:t>
            </a:r>
            <a:endParaRPr lang="en-US" kern="0" dirty="0">
              <a:latin typeface="Georgia" panose="02040502050405020303" pitchFamily="18" charset="0"/>
            </a:endParaRP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2028459"/>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b="0" i="1" dirty="0">
                <a:latin typeface="Georgia" panose="02040502050405020303" pitchFamily="18" charset="0"/>
              </a:rPr>
              <a:t>Shoppers traded up for Valentine’s Day</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2009924"/>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Tougher comparatives</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2028459"/>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sz="2600" b="0" i="1" dirty="0">
                <a:latin typeface="Georgia" panose="02040502050405020303" pitchFamily="18" charset="0"/>
              </a:rPr>
              <a:t> </a:t>
            </a:r>
            <a:r>
              <a:rPr lang="en-GB" b="0" i="1" dirty="0">
                <a:latin typeface="Georgia" panose="02040502050405020303" pitchFamily="18" charset="0"/>
              </a:rPr>
              <a:t>Getting ready for Spring</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7"/>
          </p:nvPr>
        </p:nvSpPr>
        <p:spPr/>
        <p:txBody>
          <a:bodyPr/>
          <a:lstStyle/>
          <a:p>
            <a:r>
              <a:rPr lang="en-GB" dirty="0"/>
              <a:t>Source:  Nielse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p:txBody>
          <a:bodyPr/>
          <a:lstStyle/>
          <a:p>
            <a:r>
              <a:rPr lang="en-GB" dirty="0"/>
              <a:t>Growth peaked during Valentine’s week </a:t>
            </a:r>
            <a:r>
              <a:rPr lang="en-GB" b="0" i="1" dirty="0">
                <a:latin typeface="Georgia" panose="02040502050405020303" pitchFamily="18" charset="0"/>
              </a:rPr>
              <a:t>indicating shoppers did splash out on items that mattered</a:t>
            </a:r>
          </a:p>
        </p:txBody>
      </p:sp>
      <p:sp>
        <p:nvSpPr>
          <p:cNvPr id="7" name="TextBox 6">
            <a:extLst>
              <a:ext uri="{FF2B5EF4-FFF2-40B4-BE49-F238E27FC236}">
                <a16:creationId xmlns:a16="http://schemas.microsoft.com/office/drawing/2014/main" id="{A1613644-49EF-2B74-C7D4-2483E1FF461A}"/>
              </a:ext>
            </a:extLst>
          </p:cNvPr>
          <p:cNvSpPr txBox="1"/>
          <p:nvPr/>
        </p:nvSpPr>
        <p:spPr>
          <a:xfrm>
            <a:off x="288558" y="141012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552687130"/>
              </p:ext>
            </p:extLst>
          </p:nvPr>
        </p:nvGraphicFramePr>
        <p:xfrm>
          <a:off x="288557" y="1933345"/>
          <a:ext cx="1158240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460789"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7"/>
          </p:nvPr>
        </p:nvSpPr>
        <p:spPr/>
        <p:txBody>
          <a:bodyPr/>
          <a:lstStyle/>
          <a:p>
            <a:r>
              <a:rPr lang="en-GB" dirty="0"/>
              <a:t>Source:  BRC-Nielse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t>Food Shop Price Inflation </a:t>
            </a:r>
            <a:r>
              <a:rPr lang="en-GB" b="0" i="1" dirty="0">
                <a:latin typeface="Georgia" panose="02040502050405020303" pitchFamily="18" charset="0"/>
              </a:rPr>
              <a:t>rose to another record high, </a:t>
            </a:r>
            <a:r>
              <a:rPr lang="en-GB" dirty="0"/>
              <a:t>as tougher trading conditions continue to impact retail prices and the weaker pound</a:t>
            </a:r>
            <a:r>
              <a:rPr lang="en-GB" dirty="0">
                <a:latin typeface="Georgia" panose="02040502050405020303" pitchFamily="18" charset="0"/>
              </a:rPr>
              <a:t> </a:t>
            </a:r>
            <a:r>
              <a:rPr lang="en-GB" b="0" i="1" dirty="0">
                <a:latin typeface="Georgia" panose="02040502050405020303" pitchFamily="18" charset="0"/>
              </a:rPr>
              <a:t>added </a:t>
            </a:r>
            <a:r>
              <a:rPr lang="en-GB" dirty="0"/>
              <a:t>to the cost of produce imports</a:t>
            </a:r>
          </a:p>
        </p:txBody>
      </p:sp>
      <p:sp>
        <p:nvSpPr>
          <p:cNvPr id="12" name="TextBox 11">
            <a:extLst>
              <a:ext uri="{FF2B5EF4-FFF2-40B4-BE49-F238E27FC236}">
                <a16:creationId xmlns:a16="http://schemas.microsoft.com/office/drawing/2014/main" id="{F0C9BCD9-B1B2-8BC0-11AC-9665B4187B17}"/>
              </a:ext>
            </a:extLst>
          </p:cNvPr>
          <p:cNvSpPr txBox="1"/>
          <p:nvPr/>
        </p:nvSpPr>
        <p:spPr>
          <a:xfrm>
            <a:off x="288558" y="141012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3060370906"/>
              </p:ext>
            </p:extLst>
          </p:nvPr>
        </p:nvGraphicFramePr>
        <p:xfrm>
          <a:off x="325628" y="2234339"/>
          <a:ext cx="11598641" cy="38824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2.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3.xml><?xml version="1.0" encoding="utf-8"?>
<a:theme xmlns:a="http://schemas.openxmlformats.org/drawingml/2006/main" name="About NIQ">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03-15T00:00:00+00:00</PublicationDate>
    <DocumentAdded xmlns="cebd32e3-9ab6-41ee-b1af-b8405a8d4e68">2023-03-15T00: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February 2023 NielsenIQ Grocery Reports</DocumentSummary>
    <ContentStartDate xmlns="cebd32e3-9ab6-41ee-b1af-b8405a8d4e68" xsi:nil="true"/>
  </documentManagement>
</p:properties>
</file>

<file path=customXml/itemProps1.xml><?xml version="1.0" encoding="utf-8"?>
<ds:datastoreItem xmlns:ds="http://schemas.openxmlformats.org/officeDocument/2006/customXml" ds:itemID="{4B08FCB2-E258-4D66-8DCD-AC5DE9AAE174}"/>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92C03A95-0A28-499C-AAA8-1BD8D4D0AAAC}"/>
</file>

<file path=docProps/app.xml><?xml version="1.0" encoding="utf-8"?>
<Properties xmlns="http://schemas.openxmlformats.org/officeDocument/2006/extended-properties" xmlns:vt="http://schemas.openxmlformats.org/officeDocument/2006/docPropsVTypes">
  <TotalTime>3038</TotalTime>
  <Words>4426</Words>
  <Application>Microsoft Office PowerPoint</Application>
  <PresentationFormat>Widescreen</PresentationFormat>
  <Paragraphs>561</Paragraphs>
  <Slides>52</Slides>
  <Notes>4</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70" baseType="lpstr">
      <vt:lpstr>Arial</vt:lpstr>
      <vt:lpstr>Calibri</vt:lpstr>
      <vt:lpstr>Georgia</vt:lpstr>
      <vt:lpstr>Montserrat</vt:lpstr>
      <vt:lpstr>Montserrat Light</vt:lpstr>
      <vt:lpstr>Symbol</vt:lpstr>
      <vt:lpstr>System Font Regular</vt:lpstr>
      <vt:lpstr>Times New Roman</vt:lpstr>
      <vt:lpstr>Wingdings</vt:lpstr>
      <vt:lpstr>Covers</vt:lpstr>
      <vt:lpstr>Dividers</vt:lpstr>
      <vt:lpstr>About NIQ</vt:lpstr>
      <vt:lpstr>Content</vt:lpstr>
      <vt:lpstr>Quotes</vt:lpstr>
      <vt:lpstr>Thank you</vt:lpstr>
      <vt:lpstr>3YP</vt:lpstr>
      <vt:lpstr>Cobranded</vt:lpstr>
      <vt:lpstr>think-cell Slide</vt:lpstr>
      <vt:lpstr>NIQ Total Till Executive Summary</vt:lpstr>
      <vt:lpstr>5 key takeouts</vt:lpstr>
      <vt:lpstr>Market Overview</vt:lpstr>
      <vt:lpstr>Value growths accelerated in February but unit growths remain negative</vt:lpstr>
      <vt:lpstr>Discounters continue to gain market share</vt:lpstr>
      <vt:lpstr>Sales had more momentum</vt:lpstr>
      <vt:lpstr>Shoppers remain mindful of inflation</vt:lpstr>
      <vt:lpstr>Growth peaked during Valentine’s week indicating shoppers did splash out on items that mattered</vt:lpstr>
      <vt:lpstr>Food Shop Price Inflation rose to another record high, as tougher trading conditions continue to impact retail prices and the weaker pound added to the cost of produce imports</vt:lpstr>
      <vt:lpstr>Shoppers made 45m more shopping trips, spent £0.28 more per occasion but bought, on average, 1.0 fewer FMCG items</vt:lpstr>
      <vt:lpstr>PowerPoint Presentation</vt:lpstr>
      <vt:lpstr>PowerPoint Presentation</vt:lpstr>
      <vt:lpstr>Category</vt:lpstr>
      <vt:lpstr>PowerPoint Presentation</vt:lpstr>
      <vt:lpstr>PowerPoint Presentation</vt:lpstr>
      <vt:lpstr>  Shoppers are spending more wisely.  Trimming back on core groceries helps shoppers afford healthcare and some discretionary/treat items.</vt:lpstr>
      <vt:lpstr>PowerPoint Presentation</vt:lpstr>
      <vt:lpstr> Supply chain issues impacted some salad categories resulting in out of stocks and rationing for some shoppers</vt:lpstr>
      <vt:lpstr>Shoppers are having to pay more for their key essentials, core groceries, treats &amp; snacks and non essentials … </vt:lpstr>
      <vt:lpstr>PowerPoint Presentation</vt:lpstr>
      <vt:lpstr>What happened by channel?</vt:lpstr>
      <vt:lpstr>Demand for smaller baskets, is benefiting ‘stores’ and the Discounters had a stand-out performance, whilst demand for health products stimulated sales at Chemists</vt:lpstr>
      <vt:lpstr>All channels benefited from more spend in February, in particular the Convenience stores, even Online had stronger sales than January</vt:lpstr>
      <vt:lpstr>Double digit food inflation has driven growth in 2023, this time last year food inflation~ was just 2.7%, with the exception of the Discounters, growth in the other channels is more subdued</vt:lpstr>
      <vt:lpstr>The decline in Online sales is edging closer to zero, so despite the swing towards smaller basket sizes the online channel continues to maintain share at around 11%</vt:lpstr>
      <vt:lpstr>To help mitigate smaller orders, online retailers will need to attract more shoppers as well as encourage existing shoppers to shop more often.</vt:lpstr>
      <vt:lpstr>Convenience Stores are benefiting from the trend towards smaller and more frequent shopping trips</vt:lpstr>
      <vt:lpstr>Faced with continuous rising energy, fuel, food and housing costs shoppers are returning to affordable treats and alcohol.  Shoppers also spent more on loved ones celebrating Valentine’s (Gal/Pal) Day.  Tobacco &amp; Smoking was the biggest driver of incremental sales in Convenience stores vs prior month where shoppers also sought food to go.</vt:lpstr>
      <vt:lpstr>Relative to other channels the conversion of shoppers for BWS is higher In Stores, indicating there could be opportunities for Online retailers.  Shopper conversion for Health &amp; Beauty is weaker in the grocery channels indicating shoppers may also seek this category in specialist pure play retailers.  Conversion of Household is weaker at the Discounters which may indicate shoppers prefer a wider range in this category </vt:lpstr>
      <vt:lpstr>PowerPoint Presentation</vt:lpstr>
      <vt:lpstr>Retailer News</vt:lpstr>
      <vt:lpstr>Discounters have their highest growth for over a decade. </vt:lpstr>
      <vt:lpstr>The Discounters are gaining market share faster</vt:lpstr>
      <vt:lpstr>Only Aldi has achieved significant growth on all 3 KPI’s.  Retailers will need to attract more shoppers and more visits if they are to grow share and balance the decline in average basket size.  </vt:lpstr>
      <vt:lpstr>Most retailers have attracted more shoppers since the January dip.  Waitrose &amp; Co-op are the exceptions.  Attracting more visits/orders is becoming increasingly important, only Ocado lost out in February.</vt:lpstr>
      <vt:lpstr>PowerPoint Presentation</vt:lpstr>
      <vt:lpstr>Advertising and Promotions</vt:lpstr>
      <vt:lpstr>February messages focused on Price, loyalty initiatives and meal deals</vt:lpstr>
      <vt:lpstr>Spend on offer was in line with previous February’s and increased on last month, as Valentine’s Day meal deals and early Easter offers helped to drive more sales and shoppers to store.</vt:lpstr>
      <vt:lpstr>Ocado, Iceland and M&amp;S all sold more on promotion than last February</vt:lpstr>
      <vt:lpstr>What is next?</vt:lpstr>
      <vt:lpstr>As shoppers buy fewer items retailers will need to attract more shoppers as well as visits to drive spend</vt:lpstr>
      <vt:lpstr>Shoppers will remain promiscuous as they continue to look for the cheapest prices</vt:lpstr>
      <vt:lpstr>Valentine’s Special</vt:lpstr>
      <vt:lpstr>Shoppers continue to spend more on events that matter.   This year more was spent on Greeting Cards, which may reflect more inclusivity as the event widens to include ‘Pal’, ‘Gal’ as well as Valentines.</vt:lpstr>
      <vt:lpstr>Shoppers spent more on celebratory food than gifts</vt:lpstr>
      <vt:lpstr>Shoppers spent more in Valentine’s Week on, Greeting Cards, Beauty Treatments and Breakfast Treats</vt:lpstr>
      <vt:lpstr>This year growths were highest for Cards, Plants in Soil Fragrances, Cosmetics, Cup Cakes and Steaks</vt:lpstr>
      <vt:lpstr>PowerPoint Presentation</vt:lpstr>
      <vt:lpstr>Appendix</vt:lpstr>
      <vt:lpstr>Shoppers are having to spend significantly more for their core groceries and continue to cut back on BWS and General Merchandise to help manage budgets. </vt:lpstr>
      <vt:lpstr>After cutting back in January, volume declines slowed in February with most grocery categories benefiting.  Units improved in just 3 categories Soft Drinks, Crisps &amp; Snacks and Health &amp; Beauty, reflecting the increased demand this month for Beauty products as well as Vitamins, Suncare and Cough/Cold remed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February NIQ Total Till Exec Summary</dc:title>
  <dc:creator>Anni Annunziata</dc:creator>
  <cp:lastModifiedBy>Sally F Cowen</cp:lastModifiedBy>
  <cp:revision>47</cp:revision>
  <dcterms:created xsi:type="dcterms:W3CDTF">2022-11-18T18:35:40Z</dcterms:created>
  <dcterms:modified xsi:type="dcterms:W3CDTF">2023-03-09T21:0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